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70" r:id="rId2"/>
    <p:sldMasterId id="2147483675" r:id="rId3"/>
  </p:sldMasterIdLst>
  <p:notesMasterIdLst>
    <p:notesMasterId r:id="rId28"/>
  </p:notesMasterIdLst>
  <p:handoutMasterIdLst>
    <p:handoutMasterId r:id="rId29"/>
  </p:handoutMasterIdLst>
  <p:sldIdLst>
    <p:sldId id="361" r:id="rId4"/>
    <p:sldId id="375" r:id="rId5"/>
    <p:sldId id="373" r:id="rId6"/>
    <p:sldId id="374" r:id="rId7"/>
    <p:sldId id="355" r:id="rId8"/>
    <p:sldId id="356" r:id="rId9"/>
    <p:sldId id="339" r:id="rId10"/>
    <p:sldId id="256" r:id="rId11"/>
    <p:sldId id="547" r:id="rId12"/>
    <p:sldId id="544" r:id="rId13"/>
    <p:sldId id="545" r:id="rId14"/>
    <p:sldId id="548" r:id="rId15"/>
    <p:sldId id="310" r:id="rId16"/>
    <p:sldId id="318" r:id="rId17"/>
    <p:sldId id="367" r:id="rId18"/>
    <p:sldId id="311" r:id="rId19"/>
    <p:sldId id="370" r:id="rId20"/>
    <p:sldId id="340" r:id="rId21"/>
    <p:sldId id="371" r:id="rId22"/>
    <p:sldId id="360" r:id="rId23"/>
    <p:sldId id="312" r:id="rId24"/>
    <p:sldId id="372" r:id="rId25"/>
    <p:sldId id="323" r:id="rId26"/>
    <p:sldId id="368" r:id="rId27"/>
  </p:sldIdLst>
  <p:sldSz cx="14630400" cy="8229600"/>
  <p:notesSz cx="6858000" cy="9144000"/>
  <p:defaultTextStyle>
    <a:defPPr>
      <a:defRPr lang="en-US"/>
    </a:defPPr>
    <a:lvl1pPr marL="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1pPr>
    <a:lvl2pPr marL="7315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2pPr>
    <a:lvl3pPr marL="14630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3pPr>
    <a:lvl4pPr marL="21945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4pPr>
    <a:lvl5pPr marL="292608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5pPr>
    <a:lvl6pPr marL="365760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" userDrawn="1">
          <p15:clr>
            <a:srgbClr val="A4A3A4"/>
          </p15:clr>
        </p15:guide>
        <p15:guide id="2" orient="horz" pos="1296" userDrawn="1">
          <p15:clr>
            <a:srgbClr val="A4A3A4"/>
          </p15:clr>
        </p15:guide>
        <p15:guide id="3" orient="horz" pos="4522" userDrawn="1">
          <p15:clr>
            <a:srgbClr val="A4A3A4"/>
          </p15:clr>
        </p15:guide>
        <p15:guide id="4" orient="horz" pos="4896" userDrawn="1">
          <p15:clr>
            <a:srgbClr val="A4A3A4"/>
          </p15:clr>
        </p15:guide>
        <p15:guide id="5" pos="7488" userDrawn="1">
          <p15:clr>
            <a:srgbClr val="A4A3A4"/>
          </p15:clr>
        </p15:guide>
        <p15:guide id="6" pos="432" userDrawn="1">
          <p15:clr>
            <a:srgbClr val="A4A3A4"/>
          </p15:clr>
        </p15:guide>
        <p15:guide id="7" pos="3024" userDrawn="1">
          <p15:clr>
            <a:srgbClr val="A4A3A4"/>
          </p15:clr>
        </p15:guide>
        <p15:guide id="8" pos="3312" userDrawn="1">
          <p15:clr>
            <a:srgbClr val="A4A3A4"/>
          </p15:clr>
        </p15:guide>
        <p15:guide id="9" pos="4464" userDrawn="1">
          <p15:clr>
            <a:srgbClr val="A4A3A4"/>
          </p15:clr>
        </p15:guide>
        <p15:guide id="10" pos="4608" userDrawn="1">
          <p15:clr>
            <a:srgbClr val="A4A3A4"/>
          </p15:clr>
        </p15:guide>
        <p15:guide id="11" pos="4752" userDrawn="1">
          <p15:clr>
            <a:srgbClr val="A4A3A4"/>
          </p15:clr>
        </p15:guide>
        <p15:guide id="12" pos="5904" userDrawn="1">
          <p15:clr>
            <a:srgbClr val="A4A3A4"/>
          </p15:clr>
        </p15:guide>
        <p15:guide id="13" pos="6192" userDrawn="1">
          <p15:clr>
            <a:srgbClr val="A4A3A4"/>
          </p15:clr>
        </p15:guide>
        <p15:guide id="14" pos="8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FFF100"/>
    <a:srgbClr val="58DCFF"/>
    <a:srgbClr val="D9D9D9"/>
    <a:srgbClr val="657B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5558DF-111D-4D77-9A1C-537E622CF8A6}" v="9" dt="2019-03-13T12:30:28.455"/>
  </p1510:revLst>
</p1510:revInfo>
</file>

<file path=ppt/tableStyles.xml><?xml version="1.0" encoding="utf-8"?>
<a:tblStyleLst xmlns:a="http://schemas.openxmlformats.org/drawingml/2006/main" def="{45BD5076-5073-49C7-9E08-65982F3C9860}">
  <a:tblStyle styleId="{45BD5076-5073-49C7-9E08-65982F3C9860}" styleName="DXC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000000"/>
              </a:solidFill>
            </a:ln>
          </a:top>
          <a:bottom>
            <a:ln w="6350">
              <a:solidFill>
                <a:srgbClr val="000000"/>
              </a:solidFill>
            </a:ln>
          </a:bottom>
          <a:insideH>
            <a:ln w="6350">
              <a:solidFill>
                <a:srgbClr val="000000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ajor"/>
        <a:srgbClr val="000000"/>
      </a:tcTxStyle>
      <a:tcStyle>
        <a:tcBdr/>
      </a:tcStyle>
    </a:lastCol>
    <a:firstCol>
      <a:tcTxStyle b="on">
        <a:fontRef idx="major"/>
        <a:srgbClr val="000000"/>
      </a:tcTxStyle>
      <a:tcStyle>
        <a:tcBdr/>
      </a:tcStyle>
    </a:firstCol>
    <a:lastRow>
      <a:tcTxStyle b="on">
        <a:fontRef idx="maj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/>
        <a:srgbClr val="000000"/>
      </a:tcTxStyle>
      <a:tcStyle>
        <a:tcBdr>
          <a:top>
            <a:ln>
              <a:noFill/>
            </a:ln>
          </a:top>
          <a:bottom>
            <a:ln w="19050">
              <a:solidFill>
                <a:srgbClr val="000000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807" autoAdjust="0"/>
    <p:restoredTop sz="85994" autoAdjust="0"/>
  </p:normalViewPr>
  <p:slideViewPr>
    <p:cSldViewPr snapToObjects="1" showGuides="1">
      <p:cViewPr varScale="1">
        <p:scale>
          <a:sx n="90" d="100"/>
          <a:sy n="90" d="100"/>
        </p:scale>
        <p:origin x="1206" y="102"/>
      </p:cViewPr>
      <p:guideLst>
        <p:guide orient="horz" pos="403"/>
        <p:guide orient="horz" pos="1296"/>
        <p:guide orient="horz" pos="4522"/>
        <p:guide orient="horz" pos="4896"/>
        <p:guide pos="7488"/>
        <p:guide pos="432"/>
        <p:guide pos="3024"/>
        <p:guide pos="3312"/>
        <p:guide pos="4464"/>
        <p:guide pos="4608"/>
        <p:guide pos="4752"/>
        <p:guide pos="5904"/>
        <p:guide pos="6192"/>
        <p:guide pos="87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107" d="100"/>
          <a:sy n="107" d="100"/>
        </p:scale>
        <p:origin x="-5200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microsoft.com/office/2016/11/relationships/changesInfo" Target="changesInfos/changesInfo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presProps" Target="presProps.xml"/><Relationship Id="rId35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Stevens" userId="73fe415a-d21a-4898-bfab-0e75d37181d7" providerId="ADAL" clId="{A55558DF-111D-4D77-9A1C-537E622CF8A6}"/>
    <pc:docChg chg="undo custSel addSld delSld modSld">
      <pc:chgData name="David Stevens" userId="73fe415a-d21a-4898-bfab-0e75d37181d7" providerId="ADAL" clId="{A55558DF-111D-4D77-9A1C-537E622CF8A6}" dt="2019-03-13T12:30:33.127" v="519" actId="20577"/>
      <pc:docMkLst>
        <pc:docMk/>
      </pc:docMkLst>
      <pc:sldChg chg="add del">
        <pc:chgData name="David Stevens" userId="73fe415a-d21a-4898-bfab-0e75d37181d7" providerId="ADAL" clId="{A55558DF-111D-4D77-9A1C-537E622CF8A6}" dt="2019-02-26T09:01:44.453" v="497"/>
        <pc:sldMkLst>
          <pc:docMk/>
          <pc:sldMk cId="3363243440" sldId="256"/>
        </pc:sldMkLst>
      </pc:sldChg>
      <pc:sldChg chg="addSp delSp modSp">
        <pc:chgData name="David Stevens" userId="73fe415a-d21a-4898-bfab-0e75d37181d7" providerId="ADAL" clId="{A55558DF-111D-4D77-9A1C-537E622CF8A6}" dt="2019-01-11T14:19:52.945" v="324" actId="1076"/>
        <pc:sldMkLst>
          <pc:docMk/>
          <pc:sldMk cId="1612952753" sldId="355"/>
        </pc:sldMkLst>
        <pc:spChg chg="add del">
          <ac:chgData name="David Stevens" userId="73fe415a-d21a-4898-bfab-0e75d37181d7" providerId="ADAL" clId="{A55558DF-111D-4D77-9A1C-537E622CF8A6}" dt="2019-01-11T14:12:45.871" v="316" actId="478"/>
          <ac:spMkLst>
            <pc:docMk/>
            <pc:sldMk cId="1612952753" sldId="355"/>
            <ac:spMk id="133" creationId="{78F3665B-FA4C-4A76-91AD-68CD879A9573}"/>
          </ac:spMkLst>
        </pc:s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6" creationId="{75775934-F650-4C52-AA5C-F013EB4A54BA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89" creationId="{974916CF-7E51-4CAF-8EF5-8BB8C4D1E03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32" creationId="{26AF8797-4D76-4D6D-96DB-1FFC8359D8EB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75" creationId="{4A9FF89F-54AC-49CD-9DA3-B515D76B8145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218" creationId="{E44BBA85-F7A4-4E19-96B5-DEB0F16479F9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261" creationId="{3E95C4B6-7DAF-49FD-97EF-2F9CD6EFA5D1}"/>
          </ac:grpSpMkLst>
        </pc:grpChg>
        <pc:grpChg chg="mod topLvl">
          <ac:chgData name="David Stevens" userId="73fe415a-d21a-4898-bfab-0e75d37181d7" providerId="ADAL" clId="{A55558DF-111D-4D77-9A1C-537E622CF8A6}" dt="2019-01-11T14:19:52.945" v="324" actId="1076"/>
          <ac:grpSpMkLst>
            <pc:docMk/>
            <pc:sldMk cId="1612952753" sldId="355"/>
            <ac:grpSpMk id="304" creationId="{F01C86DD-47AD-4E6E-94E4-2EA98A6C778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347" creationId="{AB3E5A61-3199-4699-B155-5ED02BF89724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390" creationId="{7F89033C-0757-4E79-8830-5077444D43F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33" creationId="{ECD0524B-0DE4-445B-8399-8C082500F81A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76" creationId="{FBF1B06C-D937-4B2C-B593-9529F5B6C5F2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3" creationId="{ECFEA3D4-55DA-41E3-82E4-0E1B429C966B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5" creationId="{F9848C83-CCEE-46B7-8C55-BDDCBEB39E2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6" creationId="{5B3F325B-D188-40CA-BD22-FEE07454688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8" creationId="{DE4F85B5-8D7E-4AE3-8131-6D9F0173065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9" creationId="{A0BC5850-0B4E-49A2-8A6E-0BD9884B2F60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30" creationId="{D4CE2A97-30E9-48A1-B12C-ECE6383FB89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31" creationId="{67F429F5-9265-4695-B6F8-75A3BA2831E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994" creationId="{C750DB56-4FD9-4852-98E2-910793138BBF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037" creationId="{A4F97684-E800-4621-8ECB-79513BC37FBE}"/>
          </ac:grpSpMkLst>
        </pc:grpChg>
        <pc:grpChg chg="de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080" creationId="{0FD7294E-B20C-48B8-99C2-D32C4CD7EB99}"/>
          </ac:grpSpMkLst>
        </pc:grpChg>
      </pc:sldChg>
      <pc:sldChg chg="addSp modSp">
        <pc:chgData name="David Stevens" userId="73fe415a-d21a-4898-bfab-0e75d37181d7" providerId="ADAL" clId="{A55558DF-111D-4D77-9A1C-537E622CF8A6}" dt="2019-01-02T07:39:15.337" v="314"/>
        <pc:sldMkLst>
          <pc:docMk/>
          <pc:sldMk cId="2452756145" sldId="361"/>
        </pc:sldMkLst>
        <pc:spChg chg="mod">
          <ac:chgData name="David Stevens" userId="73fe415a-d21a-4898-bfab-0e75d37181d7" providerId="ADAL" clId="{A55558DF-111D-4D77-9A1C-537E622CF8A6}" dt="2018-09-05T06:52:37.035" v="301" actId="404"/>
          <ac:spMkLst>
            <pc:docMk/>
            <pc:sldMk cId="2452756145" sldId="361"/>
            <ac:spMk id="3" creationId="{00000000-0000-0000-0000-000000000000}"/>
          </ac:spMkLst>
        </pc:spChg>
        <pc:grpChg chg="add">
          <ac:chgData name="David Stevens" userId="73fe415a-d21a-4898-bfab-0e75d37181d7" providerId="ADAL" clId="{A55558DF-111D-4D77-9A1C-537E622CF8A6}" dt="2019-01-02T07:39:15.337" v="314"/>
          <ac:grpSpMkLst>
            <pc:docMk/>
            <pc:sldMk cId="2452756145" sldId="361"/>
            <ac:grpSpMk id="9" creationId="{1A4C4365-A03D-4DE7-B62D-6058EC35DBD2}"/>
          </ac:grpSpMkLst>
        </pc:grpChg>
      </pc:sldChg>
      <pc:sldChg chg="add">
        <pc:chgData name="David Stevens" userId="73fe415a-d21a-4898-bfab-0e75d37181d7" providerId="ADAL" clId="{A55558DF-111D-4D77-9A1C-537E622CF8A6}" dt="2019-03-13T12:29:57.815" v="498"/>
        <pc:sldMkLst>
          <pc:docMk/>
          <pc:sldMk cId="856955319" sldId="375"/>
        </pc:sldMkLst>
      </pc:sldChg>
      <pc:sldChg chg="add">
        <pc:chgData name="David Stevens" userId="73fe415a-d21a-4898-bfab-0e75d37181d7" providerId="ADAL" clId="{A55558DF-111D-4D77-9A1C-537E622CF8A6}" dt="2019-03-13T12:30:20.083" v="499"/>
        <pc:sldMkLst>
          <pc:docMk/>
          <pc:sldMk cId="1549889398" sldId="544"/>
        </pc:sldMkLst>
      </pc:sldChg>
      <pc:sldChg chg="add">
        <pc:chgData name="David Stevens" userId="73fe415a-d21a-4898-bfab-0e75d37181d7" providerId="ADAL" clId="{A55558DF-111D-4D77-9A1C-537E622CF8A6}" dt="2019-03-13T12:30:20.083" v="499"/>
        <pc:sldMkLst>
          <pc:docMk/>
          <pc:sldMk cId="1146029085" sldId="545"/>
        </pc:sldMkLst>
      </pc:sldChg>
      <pc:sldChg chg="add">
        <pc:chgData name="David Stevens" userId="73fe415a-d21a-4898-bfab-0e75d37181d7" providerId="ADAL" clId="{A55558DF-111D-4D77-9A1C-537E622CF8A6}" dt="2019-03-13T12:30:20.083" v="499"/>
        <pc:sldMkLst>
          <pc:docMk/>
          <pc:sldMk cId="3280845262" sldId="547"/>
        </pc:sldMkLst>
      </pc:sldChg>
      <pc:sldChg chg="modSp add">
        <pc:chgData name="David Stevens" userId="73fe415a-d21a-4898-bfab-0e75d37181d7" providerId="ADAL" clId="{A55558DF-111D-4D77-9A1C-537E622CF8A6}" dt="2019-03-13T12:30:33.127" v="519" actId="20577"/>
        <pc:sldMkLst>
          <pc:docMk/>
          <pc:sldMk cId="2923113291" sldId="548"/>
        </pc:sldMkLst>
        <pc:spChg chg="mod">
          <ac:chgData name="David Stevens" userId="73fe415a-d21a-4898-bfab-0e75d37181d7" providerId="ADAL" clId="{A55558DF-111D-4D77-9A1C-537E622CF8A6}" dt="2019-03-13T12:30:33.127" v="519" actId="20577"/>
          <ac:spMkLst>
            <pc:docMk/>
            <pc:sldMk cId="2923113291" sldId="548"/>
            <ac:spMk id="2" creationId="{D8597831-4085-4FBB-ACC0-C425FE93B1A0}"/>
          </ac:spMkLst>
        </pc:spChg>
      </pc:sldChg>
    </pc:docChg>
  </pc:docChgLst>
  <pc:docChgLst>
    <pc:chgData name="Stevens, David" userId="ac0626e3-72c9-46ef-be9c-68c7f11863b4" providerId="ADAL" clId="{5AA691EA-3469-43F6-9A74-4A3D7CA75735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/>
              <a:cs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EA277-358B-E94E-961E-33D0503F6849}" type="datetimeFigureOut">
              <a:rPr lang="en-US" smtClean="0">
                <a:latin typeface="Arial"/>
                <a:cs typeface="Arial"/>
              </a:rPr>
              <a:t>3/13/2019</a:t>
            </a:fld>
            <a:endParaRPr lang="en-US">
              <a:latin typeface="Arial"/>
              <a:cs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AC7428-30A9-FD43-A0D8-DB91B17088EC}" type="slidenum">
              <a:rPr lang="en-US" smtClean="0">
                <a:latin typeface="Arial"/>
                <a:cs typeface="Arial"/>
              </a:rPr>
              <a:t>‹#›</a:t>
            </a:fld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7649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3B26A0F-F4D6-9B4F-A87B-D8948CDE3BB4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DE2E8FF-3D0C-9D4D-B4D1-3089215958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1349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Arial"/>
      </a:defRPr>
    </a:lvl1pPr>
    <a:lvl2pPr marL="73152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2pPr>
    <a:lvl3pPr marL="146304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3pPr>
    <a:lvl4pPr marL="219456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4pPr>
    <a:lvl5pPr marL="292608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5pPr>
    <a:lvl6pPr marL="365760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677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lide steps through</a:t>
            </a:r>
          </a:p>
          <a:p>
            <a:endParaRPr lang="en-GB" dirty="0"/>
          </a:p>
          <a:p>
            <a:r>
              <a:rPr lang="en-GB" dirty="0"/>
              <a:t>1. First we need to understand the business drivers and industry direction </a:t>
            </a:r>
          </a:p>
          <a:p>
            <a:endParaRPr lang="en-GB" dirty="0"/>
          </a:p>
          <a:p>
            <a:r>
              <a:rPr lang="en-GB" dirty="0"/>
              <a:t>2. Through roadmap’s such as the “DXC innovation agenda” and other client discussions we take these and shape against the client’s key strategic programs</a:t>
            </a:r>
          </a:p>
          <a:p>
            <a:endParaRPr lang="en-GB" dirty="0"/>
          </a:p>
          <a:p>
            <a:r>
              <a:rPr lang="en-GB" dirty="0"/>
              <a:t>3. The agendas call out opportunities for DXC to build solutions for (offerings plus, partners)</a:t>
            </a:r>
          </a:p>
          <a:p>
            <a:endParaRPr lang="en-GB" dirty="0"/>
          </a:p>
          <a:p>
            <a:r>
              <a:rPr lang="en-GB" dirty="0"/>
              <a:t>4. Solutions are captured and help support the next person following this common path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E2E8FF-3D0C-9D4D-B4D1-3089215958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0770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This approach is common for all our account leadership team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E2E8FF-3D0C-9D4D-B4D1-3089215958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54540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nd is repeated EVERYWHERE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0946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igital Explorer helps connect all these key steps together.</a:t>
            </a:r>
          </a:p>
          <a:p>
            <a:endParaRPr lang="en-GB" dirty="0"/>
          </a:p>
          <a:p>
            <a:r>
              <a:rPr lang="en-GB" dirty="0"/>
              <a:t>We can all learn and share industry knowledge</a:t>
            </a:r>
          </a:p>
          <a:p>
            <a:endParaRPr lang="en-GB" dirty="0"/>
          </a:p>
          <a:p>
            <a:r>
              <a:rPr lang="en-GB" dirty="0"/>
              <a:t>We can all understand true client demand and direction</a:t>
            </a:r>
          </a:p>
          <a:p>
            <a:endParaRPr lang="en-GB" dirty="0"/>
          </a:p>
          <a:p>
            <a:r>
              <a:rPr lang="en-GB" dirty="0"/>
              <a:t>We can work as a single organisation to address the unmet demands</a:t>
            </a:r>
          </a:p>
          <a:p>
            <a:endParaRPr lang="en-GB" dirty="0"/>
          </a:p>
          <a:p>
            <a:r>
              <a:rPr lang="en-GB" dirty="0"/>
              <a:t>Our Build teams can gain insights into future demand – prep our offerings, people and processes to meet the new demands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5756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827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Freeform 5"/>
          <p:cNvSpPr>
            <a:spLocks noChangeAspect="1"/>
          </p:cNvSpPr>
          <p:nvPr userDrawn="1"/>
        </p:nvSpPr>
        <p:spPr bwMode="hidden">
          <a:xfrm>
            <a:off x="1" y="0"/>
            <a:ext cx="11986923" cy="8229600"/>
          </a:xfrm>
          <a:custGeom>
            <a:avLst/>
            <a:gdLst>
              <a:gd name="T0" fmla="*/ 7871 w 7871"/>
              <a:gd name="T1" fmla="*/ 2698 h 5404"/>
              <a:gd name="T2" fmla="*/ 7871 w 7871"/>
              <a:gd name="T3" fmla="*/ 2698 h 5404"/>
              <a:gd name="T4" fmla="*/ 5172 w 7871"/>
              <a:gd name="T5" fmla="*/ 0 h 5404"/>
              <a:gd name="T6" fmla="*/ 0 w 7871"/>
              <a:gd name="T7" fmla="*/ 0 h 5404"/>
              <a:gd name="T8" fmla="*/ 0 w 7871"/>
              <a:gd name="T9" fmla="*/ 5404 h 5404"/>
              <a:gd name="T10" fmla="*/ 5172 w 7871"/>
              <a:gd name="T11" fmla="*/ 5404 h 5404"/>
              <a:gd name="T12" fmla="*/ 7871 w 7871"/>
              <a:gd name="T13" fmla="*/ 2698 h 5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71" h="5404">
                <a:moveTo>
                  <a:pt x="7871" y="2698"/>
                </a:moveTo>
                <a:lnTo>
                  <a:pt x="7871" y="2698"/>
                </a:lnTo>
                <a:cubicBezTo>
                  <a:pt x="7871" y="1192"/>
                  <a:pt x="6668" y="0"/>
                  <a:pt x="5172" y="0"/>
                </a:cubicBezTo>
                <a:lnTo>
                  <a:pt x="0" y="0"/>
                </a:lnTo>
                <a:lnTo>
                  <a:pt x="0" y="5404"/>
                </a:lnTo>
                <a:lnTo>
                  <a:pt x="5172" y="5404"/>
                </a:lnTo>
                <a:cubicBezTo>
                  <a:pt x="6668" y="5404"/>
                  <a:pt x="7871" y="4211"/>
                  <a:pt x="7871" y="2698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422761" y="7314920"/>
            <a:ext cx="2706624" cy="768757"/>
          </a:xfrm>
          <a:prstGeom prst="rect">
            <a:avLst/>
          </a:prstGeom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685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9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rch 13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49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45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42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March 13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39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/>
              <a:t>DXC Proprietary and Confident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578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March 13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7650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8" name="Straight Connector 1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March 13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rch 13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March 13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4016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0855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8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rch 13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12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616" y="3086102"/>
            <a:ext cx="9873613" cy="691516"/>
          </a:xfrm>
        </p:spPr>
        <p:txBody>
          <a:bodyPr>
            <a:noAutofit/>
          </a:bodyPr>
          <a:lstStyle>
            <a:lvl1pPr>
              <a:defRPr sz="4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729617" y="3779041"/>
            <a:ext cx="9873613" cy="6400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84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400"/>
            </a:lvl2pPr>
            <a:lvl3pPr marL="0" indent="0">
              <a:spcBef>
                <a:spcPts val="0"/>
              </a:spcBef>
              <a:buFontTx/>
              <a:buNone/>
              <a:defRPr sz="2400"/>
            </a:lvl3pPr>
            <a:lvl4pPr marL="0" indent="0">
              <a:spcBef>
                <a:spcPts val="0"/>
              </a:spcBef>
              <a:buFontTx/>
              <a:buNone/>
              <a:defRPr sz="2400"/>
            </a:lvl4pPr>
            <a:lvl5pPr marL="0" indent="0">
              <a:spcBef>
                <a:spcPts val="0"/>
              </a:spcBef>
              <a:buFontTx/>
              <a:buNone/>
              <a:defRPr sz="2400"/>
            </a:lvl5pPr>
            <a:lvl6pPr marL="0" indent="0">
              <a:spcBef>
                <a:spcPts val="0"/>
              </a:spcBef>
              <a:buFontTx/>
              <a:buNone/>
              <a:defRPr sz="2400"/>
            </a:lvl6pPr>
            <a:lvl7pPr marL="0" indent="0">
              <a:spcBef>
                <a:spcPts val="0"/>
              </a:spcBef>
              <a:buFontTx/>
              <a:buNone/>
              <a:defRPr sz="2400"/>
            </a:lvl7pPr>
            <a:lvl8pPr marL="0" indent="0">
              <a:spcBef>
                <a:spcPts val="0"/>
              </a:spcBef>
              <a:buFontTx/>
              <a:buNone/>
              <a:defRPr sz="2400"/>
            </a:lvl8pPr>
            <a:lvl9pPr marL="0" indent="0">
              <a:spcBef>
                <a:spcPts val="0"/>
              </a:spcBef>
              <a:buFontTx/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732329" y="7498081"/>
            <a:ext cx="1163366" cy="468629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March 13, 20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0" y="7717048"/>
            <a:ext cx="640079" cy="278576"/>
          </a:xfrm>
          <a:prstGeom prst="rect">
            <a:avLst/>
          </a:prstGeom>
        </p:spPr>
        <p:txBody>
          <a:bodyPr/>
          <a:lstStyle>
            <a:lvl1pPr>
              <a:defRPr sz="1440"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729619" y="555383"/>
            <a:ext cx="13183361" cy="2348842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97280">
              <a:lnSpc>
                <a:spcPct val="90000"/>
              </a:lnSpc>
            </a:pPr>
            <a:endParaRPr sz="216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60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March 13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72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1" y="1828804"/>
            <a:ext cx="13163740" cy="5486399"/>
          </a:xfrm>
          <a:prstGeom prst="rect">
            <a:avLst/>
          </a:prstGeom>
        </p:spPr>
        <p:txBody>
          <a:bodyPr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March 13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77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246D9B5-EE5B-461D-8DD5-E780D6C437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75049" y="-1"/>
            <a:ext cx="11655352" cy="8229600"/>
          </a:xfrm>
          <a:prstGeom prst="rect">
            <a:avLst/>
          </a:prstGeom>
        </p:spPr>
      </p:pic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3D00227A-FCE5-4C90-8598-4398E14BD07B}"/>
              </a:ext>
            </a:extLst>
          </p:cNvPr>
          <p:cNvSpPr>
            <a:spLocks noChangeAspect="1"/>
          </p:cNvSpPr>
          <p:nvPr userDrawn="1"/>
        </p:nvSpPr>
        <p:spPr bwMode="hidden">
          <a:xfrm>
            <a:off x="-1568" y="1"/>
            <a:ext cx="8303762" cy="8229600"/>
          </a:xfrm>
          <a:custGeom>
            <a:avLst/>
            <a:gdLst>
              <a:gd name="connsiteX0" fmla="*/ 0 w 13880700"/>
              <a:gd name="connsiteY0" fmla="*/ 0 h 13806941"/>
              <a:gd name="connsiteX1" fmla="*/ 6983768 w 13880700"/>
              <a:gd name="connsiteY1" fmla="*/ 0 h 13806941"/>
              <a:gd name="connsiteX2" fmla="*/ 13880700 w 13880700"/>
              <a:gd name="connsiteY2" fmla="*/ 6893251 h 13806941"/>
              <a:gd name="connsiteX3" fmla="*/ 6983768 w 13880700"/>
              <a:gd name="connsiteY3" fmla="*/ 13806941 h 13806941"/>
              <a:gd name="connsiteX4" fmla="*/ 0 w 13880700"/>
              <a:gd name="connsiteY4" fmla="*/ 13806941 h 13806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80700" h="13806941">
                <a:moveTo>
                  <a:pt x="0" y="0"/>
                </a:moveTo>
                <a:lnTo>
                  <a:pt x="6983768" y="0"/>
                </a:lnTo>
                <a:cubicBezTo>
                  <a:pt x="10806594" y="0"/>
                  <a:pt x="13880700" y="3045499"/>
                  <a:pt x="13880700" y="6893251"/>
                </a:cubicBezTo>
                <a:cubicBezTo>
                  <a:pt x="13880700" y="10758888"/>
                  <a:pt x="10806594" y="13806941"/>
                  <a:pt x="6983768" y="13806941"/>
                </a:cubicBezTo>
                <a:lnTo>
                  <a:pt x="0" y="13806941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243840" tIns="121920" rIns="243840" bIns="1219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7680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074840"/>
            <a:ext cx="68580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session title her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4824197"/>
            <a:ext cx="6858000" cy="662203"/>
          </a:xfrm>
        </p:spPr>
        <p:txBody>
          <a:bodyPr>
            <a:noAutofit/>
          </a:bodyPr>
          <a:lstStyle>
            <a:lvl1pPr marL="0" indent="0" algn="l">
              <a:spcBef>
                <a:spcPts val="120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Enter speaker name here</a:t>
            </a:r>
          </a:p>
        </p:txBody>
      </p:sp>
      <p:sp>
        <p:nvSpPr>
          <p:cNvPr id="47" name="Freeform 9">
            <a:extLst>
              <a:ext uri="{FF2B5EF4-FFF2-40B4-BE49-F238E27FC236}">
                <a16:creationId xmlns:a16="http://schemas.microsoft.com/office/drawing/2014/main" id="{2A7B0FDF-BC58-414A-8AAC-3B176242203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 dirty="0"/>
          </a:p>
        </p:txBody>
      </p:sp>
      <p:sp>
        <p:nvSpPr>
          <p:cNvPr id="42" name="Footer Placeholder 4">
            <a:extLst>
              <a:ext uri="{FF2B5EF4-FFF2-40B4-BE49-F238E27FC236}">
                <a16:creationId xmlns:a16="http://schemas.microsoft.com/office/drawing/2014/main" id="{3DC4A21B-A3B7-4535-89AB-D180D8D5FD35}"/>
              </a:ext>
            </a:extLst>
          </p:cNvPr>
          <p:cNvSpPr txBox="1">
            <a:spLocks/>
          </p:cNvSpPr>
          <p:nvPr userDrawn="1"/>
        </p:nvSpPr>
        <p:spPr>
          <a:xfrm>
            <a:off x="685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93C352BD-2464-4B6E-9C77-D29B31BC99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03047" y="6739333"/>
            <a:ext cx="3160262" cy="89760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66C9D15-3463-4931-AE12-2BCC2AEC3138}"/>
              </a:ext>
            </a:extLst>
          </p:cNvPr>
          <p:cNvSpPr txBox="1"/>
          <p:nvPr userDrawn="1"/>
        </p:nvSpPr>
        <p:spPr>
          <a:xfrm>
            <a:off x="667328" y="5739190"/>
            <a:ext cx="61121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TechCom24 2019: Building Digital Muscle</a:t>
            </a:r>
          </a:p>
        </p:txBody>
      </p:sp>
    </p:spTree>
    <p:extLst>
      <p:ext uri="{BB962C8B-B14F-4D97-AF65-F5344CB8AC3E}">
        <p14:creationId xmlns:p14="http://schemas.microsoft.com/office/powerpoint/2010/main" val="305589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75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559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 b="0"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 b="0"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 b="0"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 b="0"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 b="0"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3586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5512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994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5615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39763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March 13, 2019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March 13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39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/>
              <a:t>© 2018 DXC Technology Company. All rights reserved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3844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>
      <p:ext uri="{BB962C8B-B14F-4D97-AF65-F5344CB8AC3E}">
        <p14:creationId xmlns:p14="http://schemas.microsoft.com/office/powerpoint/2010/main" val="3145784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March 13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93414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9760A60-B77A-4E3E-818A-8DC6893B6C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4630398" cy="8229599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rch 13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© 2018 DXC Technology Company. All rights reserved.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>
      <p:ext uri="{BB962C8B-B14F-4D97-AF65-F5344CB8AC3E}">
        <p14:creationId xmlns:p14="http://schemas.microsoft.com/office/powerpoint/2010/main" val="2682748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March 13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60157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164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2531900" y="2726171"/>
            <a:ext cx="9566600" cy="2717182"/>
          </a:xfrm>
          <a:prstGeom prst="rect">
            <a:avLst/>
          </a:prstGeom>
        </p:spPr>
      </p:pic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76108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21" r="6372"/>
          <a:stretch/>
        </p:blipFill>
        <p:spPr bwMode="hidden">
          <a:xfrm>
            <a:off x="9829800" y="1074420"/>
            <a:ext cx="4800600" cy="6080760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 userDrawn="1"/>
        </p:nvGrpSpPr>
        <p:grpSpPr>
          <a:xfrm>
            <a:off x="0" y="-1"/>
            <a:ext cx="14630400" cy="8229602"/>
            <a:chOff x="0" y="-1"/>
            <a:chExt cx="14630400" cy="8229602"/>
          </a:xfrm>
        </p:grpSpPr>
        <p:sp>
          <p:nvSpPr>
            <p:cNvPr id="5" name="Freeform 5"/>
            <p:cNvSpPr>
              <a:spLocks noChangeAspect="1"/>
            </p:cNvSpPr>
            <p:nvPr userDrawn="1"/>
          </p:nvSpPr>
          <p:spPr bwMode="white">
            <a:xfrm>
              <a:off x="0" y="1"/>
              <a:ext cx="14630400" cy="8229600"/>
            </a:xfrm>
            <a:custGeom>
              <a:avLst/>
              <a:gdLst>
                <a:gd name="T0" fmla="*/ 19199 w 19199"/>
                <a:gd name="T1" fmla="*/ 9340 h 10809"/>
                <a:gd name="T2" fmla="*/ 19199 w 19199"/>
                <a:gd name="T3" fmla="*/ 9340 h 10809"/>
                <a:gd name="T4" fmla="*/ 16987 w 19199"/>
                <a:gd name="T5" fmla="*/ 9340 h 10809"/>
                <a:gd name="T6" fmla="*/ 13055 w 19199"/>
                <a:gd name="T7" fmla="*/ 5408 h 10809"/>
                <a:gd name="T8" fmla="*/ 16987 w 19199"/>
                <a:gd name="T9" fmla="*/ 1468 h 10809"/>
                <a:gd name="T10" fmla="*/ 19199 w 19199"/>
                <a:gd name="T11" fmla="*/ 1468 h 10809"/>
                <a:gd name="T12" fmla="*/ 19199 w 19199"/>
                <a:gd name="T13" fmla="*/ 0 h 10809"/>
                <a:gd name="T14" fmla="*/ 0 w 19199"/>
                <a:gd name="T15" fmla="*/ 0 h 10809"/>
                <a:gd name="T16" fmla="*/ 0 w 19199"/>
                <a:gd name="T17" fmla="*/ 10809 h 10809"/>
                <a:gd name="T18" fmla="*/ 19199 w 19199"/>
                <a:gd name="T19" fmla="*/ 10809 h 10809"/>
                <a:gd name="T20" fmla="*/ 19199 w 19199"/>
                <a:gd name="T21" fmla="*/ 9340 h 10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99" h="10809">
                  <a:moveTo>
                    <a:pt x="19199" y="9340"/>
                  </a:moveTo>
                  <a:lnTo>
                    <a:pt x="19199" y="9340"/>
                  </a:lnTo>
                  <a:lnTo>
                    <a:pt x="16987" y="9340"/>
                  </a:lnTo>
                  <a:cubicBezTo>
                    <a:pt x="14808" y="9340"/>
                    <a:pt x="13055" y="7602"/>
                    <a:pt x="13055" y="5408"/>
                  </a:cubicBezTo>
                  <a:cubicBezTo>
                    <a:pt x="13055" y="3205"/>
                    <a:pt x="14808" y="1468"/>
                    <a:pt x="16987" y="1468"/>
                  </a:cubicBezTo>
                  <a:lnTo>
                    <a:pt x="19199" y="1468"/>
                  </a:lnTo>
                  <a:lnTo>
                    <a:pt x="19199" y="0"/>
                  </a:lnTo>
                  <a:lnTo>
                    <a:pt x="0" y="0"/>
                  </a:lnTo>
                  <a:lnTo>
                    <a:pt x="0" y="10809"/>
                  </a:lnTo>
                  <a:lnTo>
                    <a:pt x="19199" y="10809"/>
                  </a:lnTo>
                  <a:lnTo>
                    <a:pt x="19199" y="934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 bwMode="black">
            <a:xfrm>
              <a:off x="503047" y="7314920"/>
              <a:ext cx="2706624" cy="768757"/>
            </a:xfrm>
            <a:prstGeom prst="rect">
              <a:avLst/>
            </a:prstGeom>
          </p:spPr>
        </p:pic>
        <p:sp>
          <p:nvSpPr>
            <p:cNvPr id="14" name="Freeform 9"/>
            <p:cNvSpPr>
              <a:spLocks noChangeAspect="1"/>
            </p:cNvSpPr>
            <p:nvPr userDrawn="1"/>
          </p:nvSpPr>
          <p:spPr bwMode="black">
            <a:xfrm>
              <a:off x="362839" y="-1"/>
              <a:ext cx="730236" cy="639764"/>
            </a:xfrm>
            <a:custGeom>
              <a:avLst/>
              <a:gdLst>
                <a:gd name="T0" fmla="*/ 0 w 370"/>
                <a:gd name="T1" fmla="*/ 0 h 321"/>
                <a:gd name="T2" fmla="*/ 0 w 370"/>
                <a:gd name="T3" fmla="*/ 0 h 321"/>
                <a:gd name="T4" fmla="*/ 184 w 370"/>
                <a:gd name="T5" fmla="*/ 321 h 321"/>
                <a:gd name="T6" fmla="*/ 370 w 370"/>
                <a:gd name="T7" fmla="*/ 0 h 321"/>
                <a:gd name="T8" fmla="*/ 0 w 370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0" h="321">
                  <a:moveTo>
                    <a:pt x="0" y="0"/>
                  </a:moveTo>
                  <a:lnTo>
                    <a:pt x="0" y="0"/>
                  </a:lnTo>
                  <a:lnTo>
                    <a:pt x="184" y="321"/>
                  </a:lnTo>
                  <a:lnTo>
                    <a:pt x="3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46304" tIns="73152" rIns="146304" bIns="73152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</p:grpSp>
      <p:sp>
        <p:nvSpPr>
          <p:cNvPr id="15" name="Title 1"/>
          <p:cNvSpPr>
            <a:spLocks noGrp="1"/>
          </p:cNvSpPr>
          <p:nvPr userDrawn="1"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799" y="4389120"/>
            <a:ext cx="868680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rch 13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81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5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39763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8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20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March 13, 2019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652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9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0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tx1"/>
                </a:solidFill>
              </a:rPr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rch 13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62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2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800" y="2057399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6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rch 13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289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4" r:id="rId3"/>
    <p:sldLayoutId id="2147483657" r:id="rId4"/>
    <p:sldLayoutId id="2147483658" r:id="rId5"/>
    <p:sldLayoutId id="2147483665" r:id="rId6"/>
    <p:sldLayoutId id="2147483659" r:id="rId7"/>
    <p:sldLayoutId id="2147483650" r:id="rId8"/>
    <p:sldLayoutId id="2147483666" r:id="rId9"/>
    <p:sldLayoutId id="2147483667" r:id="rId10"/>
    <p:sldLayoutId id="2147483652" r:id="rId11"/>
    <p:sldLayoutId id="2147483660" r:id="rId12"/>
    <p:sldLayoutId id="2147483662" r:id="rId13"/>
    <p:sldLayoutId id="2147483663" r:id="rId14"/>
    <p:sldLayoutId id="2147483651" r:id="rId15"/>
    <p:sldLayoutId id="2147483668" r:id="rId16"/>
    <p:sldLayoutId id="2147483669" r:id="rId17"/>
    <p:sldLayoutId id="2147483655" r:id="rId18"/>
    <p:sldLayoutId id="2147483661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3" userDrawn="1">
          <p15:clr>
            <a:srgbClr val="F26B43"/>
          </p15:clr>
        </p15:guide>
        <p15:guide id="2" pos="4608" userDrawn="1">
          <p15:clr>
            <a:srgbClr val="F26B43"/>
          </p15:clr>
        </p15:guide>
        <p15:guide id="3" pos="432" userDrawn="1">
          <p15:clr>
            <a:srgbClr val="F26B43"/>
          </p15:clr>
        </p15:guide>
        <p15:guide id="4" pos="3024" userDrawn="1">
          <p15:clr>
            <a:srgbClr val="F26B43"/>
          </p15:clr>
        </p15:guide>
        <p15:guide id="5" pos="3312" userDrawn="1">
          <p15:clr>
            <a:srgbClr val="F26B43"/>
          </p15:clr>
        </p15:guide>
        <p15:guide id="6" pos="4464" userDrawn="1">
          <p15:clr>
            <a:srgbClr val="F26B43"/>
          </p15:clr>
        </p15:guide>
        <p15:guide id="7" pos="4752" userDrawn="1">
          <p15:clr>
            <a:srgbClr val="F26B43"/>
          </p15:clr>
        </p15:guide>
        <p15:guide id="8" pos="5904" userDrawn="1">
          <p15:clr>
            <a:srgbClr val="F26B43"/>
          </p15:clr>
        </p15:guide>
        <p15:guide id="9" pos="6192" userDrawn="1">
          <p15:clr>
            <a:srgbClr val="F26B43"/>
          </p15:clr>
        </p15:guide>
        <p15:guide id="10" pos="7488" userDrawn="1">
          <p15:clr>
            <a:srgbClr val="F26B43"/>
          </p15:clr>
        </p15:guide>
        <p15:guide id="11" pos="8784" userDrawn="1">
          <p15:clr>
            <a:srgbClr val="F26B43"/>
          </p15:clr>
        </p15:guide>
        <p15:guide id="12" orient="horz" pos="1296" userDrawn="1">
          <p15:clr>
            <a:srgbClr val="F26B43"/>
          </p15:clr>
        </p15:guide>
        <p15:guide id="13" orient="horz" pos="4522" userDrawn="1">
          <p15:clr>
            <a:srgbClr val="F26B43"/>
          </p15:clr>
        </p15:guide>
        <p15:guide id="14" orient="horz" pos="48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907" y="1906"/>
          <a:ext cx="1905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421" imgH="420" progId="TCLayout.ActiveDocument.1">
                  <p:embed/>
                </p:oleObj>
              </mc:Choice>
              <mc:Fallback>
                <p:oleObj name="think-cell Slide" r:id="rId7" imgW="421" imgH="42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07" y="1906"/>
                        <a:ext cx="1905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335" y="623083"/>
            <a:ext cx="13163931" cy="10228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729619" y="525247"/>
            <a:ext cx="13167361" cy="21946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2159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717860" y="7711325"/>
            <a:ext cx="1194694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840">
                <a:solidFill>
                  <a:schemeClr val="tx1"/>
                </a:solidFill>
              </a:defRPr>
            </a:lvl1pPr>
          </a:lstStyle>
          <a:p>
            <a:fld id="{5E51F714-C24D-4942-B68B-C152BFD71ED0}" type="datetime4">
              <a:rPr lang="en-US" smtClean="0">
                <a:solidFill>
                  <a:prstClr val="black"/>
                </a:solidFill>
              </a:rPr>
              <a:pPr/>
              <a:t>March 13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1040" y="7711325"/>
            <a:ext cx="4830238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4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HPE Private</a:t>
            </a:r>
            <a:endParaRPr dirty="0">
              <a:solidFill>
                <a:prstClr val="black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732332" y="7498081"/>
            <a:ext cx="1163366" cy="468629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196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3" r:id="rId2"/>
    <p:sldLayoutId id="214748367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096951" rtl="0" eaLnBrk="1" latinLnBrk="0" hangingPunct="1">
        <a:lnSpc>
          <a:spcPct val="90000"/>
        </a:lnSpc>
        <a:spcBef>
          <a:spcPct val="0"/>
        </a:spcBef>
        <a:buNone/>
        <a:defRPr sz="335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390" indent="-219390" algn="l" defTabSz="1096951" rtl="0" eaLnBrk="1" latinLnBrk="0" hangingPunct="1">
        <a:lnSpc>
          <a:spcPct val="90000"/>
        </a:lnSpc>
        <a:spcBef>
          <a:spcPts val="1440"/>
        </a:spcBef>
        <a:buFont typeface="Arial" panose="020B0604020202020204" pitchFamily="34" charset="0"/>
        <a:buChar char="–"/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493628" indent="-219390" algn="l" defTabSz="1096951" rtl="0" eaLnBrk="1" latinLnBrk="0" hangingPunct="1">
        <a:lnSpc>
          <a:spcPct val="90000"/>
        </a:lnSpc>
        <a:spcBef>
          <a:spcPts val="960"/>
        </a:spcBef>
        <a:buFont typeface="Arial" panose="020B0604020202020204" pitchFamily="34" charset="0"/>
        <a:buChar char="–"/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658170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680" kern="1200">
          <a:solidFill>
            <a:schemeClr val="tx1"/>
          </a:solidFill>
          <a:latin typeface="+mn-lt"/>
          <a:ea typeface="+mn-ea"/>
          <a:cs typeface="+mn-cs"/>
        </a:defRPr>
      </a:lvl3pPr>
      <a:lvl4pPr marL="877561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1042103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1261494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1426036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164542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186481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548476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2pPr>
      <a:lvl3pPr marL="109695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3pPr>
      <a:lvl4pPr marL="164542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4pPr>
      <a:lvl5pPr marL="219390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5pPr>
      <a:lvl6pPr marL="274237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6pPr>
      <a:lvl7pPr marL="3290852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7pPr>
      <a:lvl8pPr marL="3839328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8pPr>
      <a:lvl9pPr marL="4387804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800" y="2057399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6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rch 13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7704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3">
          <p15:clr>
            <a:srgbClr val="F26B43"/>
          </p15:clr>
        </p15:guide>
        <p15:guide id="2" pos="4608">
          <p15:clr>
            <a:srgbClr val="F26B43"/>
          </p15:clr>
        </p15:guide>
        <p15:guide id="3" pos="432">
          <p15:clr>
            <a:srgbClr val="F26B43"/>
          </p15:clr>
        </p15:guide>
        <p15:guide id="4" pos="3024">
          <p15:clr>
            <a:srgbClr val="F26B43"/>
          </p15:clr>
        </p15:guide>
        <p15:guide id="5" pos="3312">
          <p15:clr>
            <a:srgbClr val="F26B43"/>
          </p15:clr>
        </p15:guide>
        <p15:guide id="6" pos="4464">
          <p15:clr>
            <a:srgbClr val="F26B43"/>
          </p15:clr>
        </p15:guide>
        <p15:guide id="7" pos="4752">
          <p15:clr>
            <a:srgbClr val="F26B43"/>
          </p15:clr>
        </p15:guide>
        <p15:guide id="8" pos="5904">
          <p15:clr>
            <a:srgbClr val="F26B43"/>
          </p15:clr>
        </p15:guide>
        <p15:guide id="9" pos="6192">
          <p15:clr>
            <a:srgbClr val="F26B43"/>
          </p15:clr>
        </p15:guide>
        <p15:guide id="10" pos="7488">
          <p15:clr>
            <a:srgbClr val="F26B43"/>
          </p15:clr>
        </p15:guide>
        <p15:guide id="11" pos="8784">
          <p15:clr>
            <a:srgbClr val="F26B43"/>
          </p15:clr>
        </p15:guide>
        <p15:guide id="12" orient="horz" pos="1296">
          <p15:clr>
            <a:srgbClr val="F26B43"/>
          </p15:clr>
        </p15:guide>
        <p15:guide id="13" orient="horz" pos="4522">
          <p15:clr>
            <a:srgbClr val="F26B43"/>
          </p15:clr>
        </p15:guide>
        <p15:guide id="14" orient="horz" pos="48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rndwiki.houston.entsvcs.net/confluence/pages/viewpage.action?pageId=1016169972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hyperlink" Target="https://dxc.facebook.com/groups/1944577162473453/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digitalexplorer.dxc.com/de/technology" TargetMode="External"/><Relationship Id="rId2" Type="http://schemas.openxmlformats.org/officeDocument/2006/relationships/hyperlink" Target="https://digitalexplorer.dxc.com/de/industry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digitalexplorer.dxc.com/de/stats/business/3986/industry-use-cases" TargetMode="External"/><Relationship Id="rId5" Type="http://schemas.openxmlformats.org/officeDocument/2006/relationships/hyperlink" Target="https://digitalexplorer.dxc.com/de/stories" TargetMode="External"/><Relationship Id="rId4" Type="http://schemas.openxmlformats.org/officeDocument/2006/relationships/hyperlink" Target="https://digitalexplorer.dxc.com/de/collaboration/main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trava.com/athletes/323624" TargetMode="External"/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2" Type="http://schemas.openxmlformats.org/officeDocument/2006/relationships/hyperlink" Target="https://www.linkedin.com/in/david-stevens-3b499584/" TargetMode="External"/><Relationship Id="rId1" Type="http://schemas.openxmlformats.org/officeDocument/2006/relationships/slideLayout" Target="../slideLayouts/slideLayout11.xml"/><Relationship Id="rId6" Type="http://schemas.openxmlformats.org/officeDocument/2006/relationships/hyperlink" Target="https://www.instagram.com/englishsid/" TargetMode="External"/><Relationship Id="rId5" Type="http://schemas.openxmlformats.org/officeDocument/2006/relationships/image" Target="../media/image10.png"/><Relationship Id="rId10" Type="http://schemas.openxmlformats.org/officeDocument/2006/relationships/image" Target="../media/image13.png"/><Relationship Id="rId4" Type="http://schemas.openxmlformats.org/officeDocument/2006/relationships/hyperlink" Target="https://twitter.com/englishsid" TargetMode="External"/><Relationship Id="rId9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0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video.dxc.com/channel/Digital+Explorer" TargetMode="External"/><Relationship Id="rId2" Type="http://schemas.openxmlformats.org/officeDocument/2006/relationships/hyperlink" Target="https://digitalexplorer.dxc.com/" TargetMode="Externa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github.dxc.com/ArchitectureOffice/DigitalExplorer" TargetMode="External"/><Relationship Id="rId4" Type="http://schemas.openxmlformats.org/officeDocument/2006/relationships/hyperlink" Target="https://dxc.facebook.com/groups/1944577162473453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7.png"/><Relationship Id="rId7" Type="http://schemas.openxmlformats.org/officeDocument/2006/relationships/image" Target="../media/image20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digitalexplorer.solutionplace.svcs.hpe.com/de/" TargetMode="Externa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dustry, technology, client roadmaps and solution knowledge combined</a:t>
            </a:r>
            <a:br>
              <a:rPr lang="en-GB" dirty="0"/>
            </a:br>
            <a:endParaRPr lang="en-GB" sz="1100" dirty="0"/>
          </a:p>
          <a:p>
            <a:r>
              <a:rPr lang="en-GB" b="0" dirty="0"/>
              <a:t>David Stevens</a:t>
            </a:r>
          </a:p>
          <a:p>
            <a:r>
              <a:rPr lang="en-GB" sz="1400" b="0" dirty="0"/>
              <a:t>DXC Distinguished Architect</a:t>
            </a:r>
            <a:br>
              <a:rPr lang="en-GB" sz="1400" b="0" dirty="0"/>
            </a:br>
            <a:r>
              <a:rPr lang="en-GB" sz="1400" b="0" dirty="0"/>
              <a:t>Digital Explorer Product Owner &amp; Architect </a:t>
            </a:r>
            <a:br>
              <a:rPr lang="en-GB" sz="1400" b="0" dirty="0"/>
            </a:br>
            <a:r>
              <a:rPr lang="en-GB" sz="1400" b="0" dirty="0"/>
              <a:t>davidstevens@dxc.com</a:t>
            </a:r>
            <a:endParaRPr lang="en-GB" sz="2400" b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7AA3B8-BE47-4602-8C3A-4DCE0E7610CB}"/>
              </a:ext>
            </a:extLst>
          </p:cNvPr>
          <p:cNvSpPr/>
          <p:nvPr/>
        </p:nvSpPr>
        <p:spPr>
          <a:xfrm>
            <a:off x="685800" y="558248"/>
            <a:ext cx="5545557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https://digitalexplorer.dxc.com</a:t>
            </a:r>
            <a:endParaRPr lang="en-GB" b="1" dirty="0">
              <a:solidFill>
                <a:schemeClr val="bg1"/>
              </a:solidFill>
              <a:hlinkClick r:id="rId3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663DD3B-A29A-442C-808E-BAA9EBFD38C6}"/>
              </a:ext>
            </a:extLst>
          </p:cNvPr>
          <p:cNvGrpSpPr/>
          <p:nvPr/>
        </p:nvGrpSpPr>
        <p:grpSpPr>
          <a:xfrm>
            <a:off x="11554568" y="6563072"/>
            <a:ext cx="2808312" cy="613001"/>
            <a:chOff x="11563672" y="1137580"/>
            <a:chExt cx="2808312" cy="61300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8B9E31F-969F-4086-B83E-2194A41E64F4}"/>
                </a:ext>
              </a:extLst>
            </p:cNvPr>
            <p:cNvSpPr txBox="1"/>
            <p:nvPr/>
          </p:nvSpPr>
          <p:spPr>
            <a:xfrm>
              <a:off x="12162455" y="1274803"/>
              <a:ext cx="2209529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sz="1600" dirty="0">
                  <a:solidFill>
                    <a:schemeClr val="bg1"/>
                  </a:solidFill>
                  <a:hlinkClick r:id="rId4"/>
                </a:rPr>
                <a:t>DXC </a:t>
              </a:r>
              <a:r>
                <a:rPr lang="en-GB" sz="1600" dirty="0">
                  <a:solidFill>
                    <a:schemeClr val="accent3"/>
                  </a:solidFill>
                  <a:hlinkClick r:id="rId4"/>
                </a:rPr>
                <a:t>Workplace</a:t>
              </a:r>
              <a:r>
                <a:rPr lang="en-GB" sz="1600" dirty="0">
                  <a:solidFill>
                    <a:schemeClr val="bg1"/>
                  </a:solidFill>
                  <a:hlinkClick r:id="rId4"/>
                </a:rPr>
                <a:t> group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89614F3-DBB5-4120-ABB2-E4E07D9EF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1563672" y="1137580"/>
              <a:ext cx="576064" cy="613001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A4C4365-A03D-4DE7-B62D-6058EC35DBD2}"/>
              </a:ext>
            </a:extLst>
          </p:cNvPr>
          <p:cNvGrpSpPr/>
          <p:nvPr/>
        </p:nvGrpSpPr>
        <p:grpSpPr>
          <a:xfrm>
            <a:off x="12542097" y="5546106"/>
            <a:ext cx="871090" cy="797592"/>
            <a:chOff x="1921047" y="2009393"/>
            <a:chExt cx="3929255" cy="3597728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C8119A6-0B4B-486E-8B0B-72EEB1CF8DCF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E18F056-8D51-4AE3-96F2-BFF31D4346BC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92F7FE9-FE04-49FD-B58F-8973077AB157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5F49BF1-F9FE-4C9A-961B-AF19BC976FA4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F8EF03DD-3233-4DB0-9A49-0E90231B7FA2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58A34A6-DDC4-45A9-96B9-4A6099681D28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4BEB307-E2FE-4D0E-B37F-C56928AFB540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3A4F6C4-ED1C-49E6-8CE5-46D3786B030D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0D83001-5406-4316-AA91-678E14505FC6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2D8B940-00FD-443A-BABC-958CEB6FD084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7118B99-5135-4062-8571-F15D5FA754F1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D6FB0-9007-4D63-9008-59F29A3BC3D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2178C93-1163-4602-9D53-1285980298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1BA522E8-ED39-4F6C-88E4-1510E8B93BBE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F98162D-BCCC-48C5-A5D6-ED5D929B83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A44DF6D-93F8-4D7C-868D-2DBCA7F8978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AD084DA-7989-4B03-B26D-EFBDB53967E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5292A4F0-1A24-4C2F-8C9F-61CBBD2890A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7FED52B8-D83F-4314-908F-464CCA6E7B17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02631EB-7ACE-45FA-86D6-6E4041B12EC2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C46FF4E6-AFFF-414D-97F2-431C6EB188D6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02D0D33-DC5D-4869-852B-8E378B1E3F33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2450D3C-CBE6-4E6A-9440-1CDDBFF73997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B9012AF3-072C-40D8-86CA-ABE7D9F8270E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C789E338-E619-43CB-B469-B14026F2AC5C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C3B7B3B-9B3D-4262-9DF3-5B710B1068B9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823A456-3800-4B1F-AF7E-0362AD237E7E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047E2523-E7A9-4D91-BD6A-282EEACE9251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45275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D67CA2C4-35B1-4EC0-8B48-A2BCA4E6E63B}"/>
              </a:ext>
            </a:extLst>
          </p:cNvPr>
          <p:cNvSpPr/>
          <p:nvPr/>
        </p:nvSpPr>
        <p:spPr>
          <a:xfrm>
            <a:off x="246744" y="7257381"/>
            <a:ext cx="13904686" cy="8285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4A1FB9A-308A-4248-AB2F-A16FB7DF4F62}"/>
              </a:ext>
            </a:extLst>
          </p:cNvPr>
          <p:cNvSpPr/>
          <p:nvPr/>
        </p:nvSpPr>
        <p:spPr>
          <a:xfrm>
            <a:off x="1073478" y="1446242"/>
            <a:ext cx="6007509" cy="6007509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Freeform 50">
            <a:extLst>
              <a:ext uri="{FF2B5EF4-FFF2-40B4-BE49-F238E27FC236}">
                <a16:creationId xmlns:a16="http://schemas.microsoft.com/office/drawing/2014/main" id="{5DF33367-B1EC-4924-BD92-9C7B99B6D2B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707166" y="6575646"/>
            <a:ext cx="715793" cy="656493"/>
          </a:xfrm>
          <a:custGeom>
            <a:avLst/>
            <a:gdLst>
              <a:gd name="T0" fmla="*/ 336 w 1152"/>
              <a:gd name="T1" fmla="*/ 336 h 1056"/>
              <a:gd name="T2" fmla="*/ 192 w 1152"/>
              <a:gd name="T3" fmla="*/ 480 h 1056"/>
              <a:gd name="T4" fmla="*/ 48 w 1152"/>
              <a:gd name="T5" fmla="*/ 336 h 1056"/>
              <a:gd name="T6" fmla="*/ 192 w 1152"/>
              <a:gd name="T7" fmla="*/ 192 h 1056"/>
              <a:gd name="T8" fmla="*/ 336 w 1152"/>
              <a:gd name="T9" fmla="*/ 336 h 1056"/>
              <a:gd name="T10" fmla="*/ 576 w 1152"/>
              <a:gd name="T11" fmla="*/ 0 h 1056"/>
              <a:gd name="T12" fmla="*/ 432 w 1152"/>
              <a:gd name="T13" fmla="*/ 144 h 1056"/>
              <a:gd name="T14" fmla="*/ 576 w 1152"/>
              <a:gd name="T15" fmla="*/ 288 h 1056"/>
              <a:gd name="T16" fmla="*/ 720 w 1152"/>
              <a:gd name="T17" fmla="*/ 144 h 1056"/>
              <a:gd name="T18" fmla="*/ 576 w 1152"/>
              <a:gd name="T19" fmla="*/ 0 h 1056"/>
              <a:gd name="T20" fmla="*/ 960 w 1152"/>
              <a:gd name="T21" fmla="*/ 192 h 1056"/>
              <a:gd name="T22" fmla="*/ 816 w 1152"/>
              <a:gd name="T23" fmla="*/ 336 h 1056"/>
              <a:gd name="T24" fmla="*/ 960 w 1152"/>
              <a:gd name="T25" fmla="*/ 480 h 1056"/>
              <a:gd name="T26" fmla="*/ 1104 w 1152"/>
              <a:gd name="T27" fmla="*/ 336 h 1056"/>
              <a:gd name="T28" fmla="*/ 960 w 1152"/>
              <a:gd name="T29" fmla="*/ 192 h 1056"/>
              <a:gd name="T30" fmla="*/ 960 w 1152"/>
              <a:gd name="T31" fmla="*/ 480 h 1056"/>
              <a:gd name="T32" fmla="*/ 768 w 1152"/>
              <a:gd name="T33" fmla="*/ 672 h 1056"/>
              <a:gd name="T34" fmla="*/ 768 w 1152"/>
              <a:gd name="T35" fmla="*/ 480 h 1056"/>
              <a:gd name="T36" fmla="*/ 576 w 1152"/>
              <a:gd name="T37" fmla="*/ 288 h 1056"/>
              <a:gd name="T38" fmla="*/ 384 w 1152"/>
              <a:gd name="T39" fmla="*/ 480 h 1056"/>
              <a:gd name="T40" fmla="*/ 384 w 1152"/>
              <a:gd name="T41" fmla="*/ 672 h 1056"/>
              <a:gd name="T42" fmla="*/ 192 w 1152"/>
              <a:gd name="T43" fmla="*/ 480 h 1056"/>
              <a:gd name="T44" fmla="*/ 0 w 1152"/>
              <a:gd name="T45" fmla="*/ 672 h 1056"/>
              <a:gd name="T46" fmla="*/ 0 w 1152"/>
              <a:gd name="T47" fmla="*/ 864 h 1056"/>
              <a:gd name="T48" fmla="*/ 1152 w 1152"/>
              <a:gd name="T49" fmla="*/ 864 h 1056"/>
              <a:gd name="T50" fmla="*/ 1152 w 1152"/>
              <a:gd name="T51" fmla="*/ 672 h 1056"/>
              <a:gd name="T52" fmla="*/ 960 w 1152"/>
              <a:gd name="T53" fmla="*/ 480 h 1056"/>
              <a:gd name="T54" fmla="*/ 1152 w 1152"/>
              <a:gd name="T55" fmla="*/ 960 h 1056"/>
              <a:gd name="T56" fmla="*/ 0 w 1152"/>
              <a:gd name="T57" fmla="*/ 960 h 1056"/>
              <a:gd name="T58" fmla="*/ 0 w 1152"/>
              <a:gd name="T59" fmla="*/ 1056 h 1056"/>
              <a:gd name="T60" fmla="*/ 1152 w 1152"/>
              <a:gd name="T61" fmla="*/ 1056 h 1056"/>
              <a:gd name="T62" fmla="*/ 1152 w 1152"/>
              <a:gd name="T63" fmla="*/ 960 h 10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152" h="1056">
                <a:moveTo>
                  <a:pt x="336" y="336"/>
                </a:moveTo>
                <a:cubicBezTo>
                  <a:pt x="336" y="416"/>
                  <a:pt x="272" y="480"/>
                  <a:pt x="192" y="480"/>
                </a:cubicBezTo>
                <a:cubicBezTo>
                  <a:pt x="112" y="480"/>
                  <a:pt x="48" y="416"/>
                  <a:pt x="48" y="336"/>
                </a:cubicBezTo>
                <a:cubicBezTo>
                  <a:pt x="48" y="256"/>
                  <a:pt x="112" y="192"/>
                  <a:pt x="192" y="192"/>
                </a:cubicBezTo>
                <a:cubicBezTo>
                  <a:pt x="272" y="192"/>
                  <a:pt x="336" y="256"/>
                  <a:pt x="336" y="336"/>
                </a:cubicBezTo>
                <a:close/>
                <a:moveTo>
                  <a:pt x="576" y="0"/>
                </a:moveTo>
                <a:cubicBezTo>
                  <a:pt x="496" y="0"/>
                  <a:pt x="432" y="64"/>
                  <a:pt x="432" y="144"/>
                </a:cubicBezTo>
                <a:cubicBezTo>
                  <a:pt x="432" y="224"/>
                  <a:pt x="496" y="288"/>
                  <a:pt x="576" y="288"/>
                </a:cubicBezTo>
                <a:cubicBezTo>
                  <a:pt x="656" y="288"/>
                  <a:pt x="720" y="224"/>
                  <a:pt x="720" y="144"/>
                </a:cubicBezTo>
                <a:cubicBezTo>
                  <a:pt x="720" y="64"/>
                  <a:pt x="656" y="0"/>
                  <a:pt x="576" y="0"/>
                </a:cubicBezTo>
                <a:close/>
                <a:moveTo>
                  <a:pt x="960" y="192"/>
                </a:moveTo>
                <a:cubicBezTo>
                  <a:pt x="880" y="192"/>
                  <a:pt x="816" y="256"/>
                  <a:pt x="816" y="336"/>
                </a:cubicBezTo>
                <a:cubicBezTo>
                  <a:pt x="816" y="416"/>
                  <a:pt x="880" y="480"/>
                  <a:pt x="960" y="480"/>
                </a:cubicBezTo>
                <a:cubicBezTo>
                  <a:pt x="1040" y="480"/>
                  <a:pt x="1104" y="416"/>
                  <a:pt x="1104" y="336"/>
                </a:cubicBezTo>
                <a:cubicBezTo>
                  <a:pt x="1104" y="256"/>
                  <a:pt x="1040" y="192"/>
                  <a:pt x="960" y="192"/>
                </a:cubicBezTo>
                <a:close/>
                <a:moveTo>
                  <a:pt x="960" y="480"/>
                </a:moveTo>
                <a:cubicBezTo>
                  <a:pt x="854" y="480"/>
                  <a:pt x="768" y="566"/>
                  <a:pt x="768" y="672"/>
                </a:cubicBezTo>
                <a:cubicBezTo>
                  <a:pt x="768" y="480"/>
                  <a:pt x="768" y="480"/>
                  <a:pt x="768" y="480"/>
                </a:cubicBezTo>
                <a:cubicBezTo>
                  <a:pt x="768" y="374"/>
                  <a:pt x="682" y="288"/>
                  <a:pt x="576" y="288"/>
                </a:cubicBezTo>
                <a:cubicBezTo>
                  <a:pt x="470" y="288"/>
                  <a:pt x="384" y="374"/>
                  <a:pt x="384" y="480"/>
                </a:cubicBezTo>
                <a:cubicBezTo>
                  <a:pt x="384" y="672"/>
                  <a:pt x="384" y="672"/>
                  <a:pt x="384" y="672"/>
                </a:cubicBezTo>
                <a:cubicBezTo>
                  <a:pt x="384" y="566"/>
                  <a:pt x="298" y="480"/>
                  <a:pt x="192" y="480"/>
                </a:cubicBezTo>
                <a:cubicBezTo>
                  <a:pt x="86" y="480"/>
                  <a:pt x="0" y="566"/>
                  <a:pt x="0" y="672"/>
                </a:cubicBezTo>
                <a:cubicBezTo>
                  <a:pt x="0" y="864"/>
                  <a:pt x="0" y="864"/>
                  <a:pt x="0" y="864"/>
                </a:cubicBezTo>
                <a:cubicBezTo>
                  <a:pt x="1152" y="864"/>
                  <a:pt x="1152" y="864"/>
                  <a:pt x="1152" y="864"/>
                </a:cubicBezTo>
                <a:cubicBezTo>
                  <a:pt x="1152" y="672"/>
                  <a:pt x="1152" y="672"/>
                  <a:pt x="1152" y="672"/>
                </a:cubicBezTo>
                <a:cubicBezTo>
                  <a:pt x="1152" y="566"/>
                  <a:pt x="1066" y="480"/>
                  <a:pt x="960" y="480"/>
                </a:cubicBezTo>
                <a:close/>
                <a:moveTo>
                  <a:pt x="1152" y="960"/>
                </a:moveTo>
                <a:cubicBezTo>
                  <a:pt x="0" y="960"/>
                  <a:pt x="0" y="960"/>
                  <a:pt x="0" y="960"/>
                </a:cubicBezTo>
                <a:cubicBezTo>
                  <a:pt x="0" y="1056"/>
                  <a:pt x="0" y="1056"/>
                  <a:pt x="0" y="1056"/>
                </a:cubicBezTo>
                <a:cubicBezTo>
                  <a:pt x="1152" y="1056"/>
                  <a:pt x="1152" y="1056"/>
                  <a:pt x="1152" y="1056"/>
                </a:cubicBezTo>
                <a:lnTo>
                  <a:pt x="1152" y="9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58B83C4-2DF2-4B92-9D1C-C6B348F50236}"/>
              </a:ext>
            </a:extLst>
          </p:cNvPr>
          <p:cNvSpPr/>
          <p:nvPr/>
        </p:nvSpPr>
        <p:spPr>
          <a:xfrm>
            <a:off x="7717252" y="1458828"/>
            <a:ext cx="6007509" cy="6007509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4BB57C9-DB8C-466D-BD52-710BB702DB2C}"/>
              </a:ext>
            </a:extLst>
          </p:cNvPr>
          <p:cNvSpPr/>
          <p:nvPr/>
        </p:nvSpPr>
        <p:spPr>
          <a:xfrm>
            <a:off x="2512541" y="7496008"/>
            <a:ext cx="31293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2400" i="1" dirty="0"/>
              <a:t>Community Detect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4F06997-4A87-495A-9FC8-EF5CC7E3DA15}"/>
              </a:ext>
            </a:extLst>
          </p:cNvPr>
          <p:cNvSpPr/>
          <p:nvPr/>
        </p:nvSpPr>
        <p:spPr>
          <a:xfrm>
            <a:off x="8383379" y="7484118"/>
            <a:ext cx="46752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2400" i="1" dirty="0"/>
              <a:t>Industry and Technology Insights</a:t>
            </a:r>
          </a:p>
        </p:txBody>
      </p:sp>
      <p:sp>
        <p:nvSpPr>
          <p:cNvPr id="20" name="Freeform 117">
            <a:extLst>
              <a:ext uri="{FF2B5EF4-FFF2-40B4-BE49-F238E27FC236}">
                <a16:creationId xmlns:a16="http://schemas.microsoft.com/office/drawing/2014/main" id="{3F29DE92-F8F6-4FE0-BDA0-0D234ABBABB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297782" y="6349485"/>
            <a:ext cx="846448" cy="931316"/>
          </a:xfrm>
          <a:custGeom>
            <a:avLst/>
            <a:gdLst>
              <a:gd name="T0" fmla="*/ 688 w 960"/>
              <a:gd name="T1" fmla="*/ 288 h 1056"/>
              <a:gd name="T2" fmla="*/ 756 w 960"/>
              <a:gd name="T3" fmla="*/ 356 h 1056"/>
              <a:gd name="T4" fmla="*/ 675 w 960"/>
              <a:gd name="T5" fmla="*/ 437 h 1056"/>
              <a:gd name="T6" fmla="*/ 811 w 960"/>
              <a:gd name="T7" fmla="*/ 573 h 1056"/>
              <a:gd name="T8" fmla="*/ 892 w 960"/>
              <a:gd name="T9" fmla="*/ 492 h 1056"/>
              <a:gd name="T10" fmla="*/ 960 w 960"/>
              <a:gd name="T11" fmla="*/ 560 h 1056"/>
              <a:gd name="T12" fmla="*/ 960 w 960"/>
              <a:gd name="T13" fmla="*/ 288 h 1056"/>
              <a:gd name="T14" fmla="*/ 688 w 960"/>
              <a:gd name="T15" fmla="*/ 288 h 1056"/>
              <a:gd name="T16" fmla="*/ 384 w 960"/>
              <a:gd name="T17" fmla="*/ 396 h 1056"/>
              <a:gd name="T18" fmla="*/ 480 w 960"/>
              <a:gd name="T19" fmla="*/ 384 h 1056"/>
              <a:gd name="T20" fmla="*/ 576 w 960"/>
              <a:gd name="T21" fmla="*/ 396 h 1056"/>
              <a:gd name="T22" fmla="*/ 576 w 960"/>
              <a:gd name="T23" fmla="*/ 192 h 1056"/>
              <a:gd name="T24" fmla="*/ 672 w 960"/>
              <a:gd name="T25" fmla="*/ 192 h 1056"/>
              <a:gd name="T26" fmla="*/ 480 w 960"/>
              <a:gd name="T27" fmla="*/ 0 h 1056"/>
              <a:gd name="T28" fmla="*/ 288 w 960"/>
              <a:gd name="T29" fmla="*/ 192 h 1056"/>
              <a:gd name="T30" fmla="*/ 384 w 960"/>
              <a:gd name="T31" fmla="*/ 192 h 1056"/>
              <a:gd name="T32" fmla="*/ 384 w 960"/>
              <a:gd name="T33" fmla="*/ 396 h 1056"/>
              <a:gd name="T34" fmla="*/ 285 w 960"/>
              <a:gd name="T35" fmla="*/ 437 h 1056"/>
              <a:gd name="T36" fmla="*/ 204 w 960"/>
              <a:gd name="T37" fmla="*/ 356 h 1056"/>
              <a:gd name="T38" fmla="*/ 272 w 960"/>
              <a:gd name="T39" fmla="*/ 288 h 1056"/>
              <a:gd name="T40" fmla="*/ 0 w 960"/>
              <a:gd name="T41" fmla="*/ 288 h 1056"/>
              <a:gd name="T42" fmla="*/ 0 w 960"/>
              <a:gd name="T43" fmla="*/ 560 h 1056"/>
              <a:gd name="T44" fmla="*/ 68 w 960"/>
              <a:gd name="T45" fmla="*/ 492 h 1056"/>
              <a:gd name="T46" fmla="*/ 149 w 960"/>
              <a:gd name="T47" fmla="*/ 573 h 1056"/>
              <a:gd name="T48" fmla="*/ 285 w 960"/>
              <a:gd name="T49" fmla="*/ 437 h 1056"/>
              <a:gd name="T50" fmla="*/ 728 w 960"/>
              <a:gd name="T51" fmla="*/ 622 h 1056"/>
              <a:gd name="T52" fmla="*/ 768 w 960"/>
              <a:gd name="T53" fmla="*/ 768 h 1056"/>
              <a:gd name="T54" fmla="*/ 480 w 960"/>
              <a:gd name="T55" fmla="*/ 1056 h 1056"/>
              <a:gd name="T56" fmla="*/ 192 w 960"/>
              <a:gd name="T57" fmla="*/ 768 h 1056"/>
              <a:gd name="T58" fmla="*/ 480 w 960"/>
              <a:gd name="T59" fmla="*/ 480 h 1056"/>
              <a:gd name="T60" fmla="*/ 480 w 960"/>
              <a:gd name="T61" fmla="*/ 768 h 1056"/>
              <a:gd name="T62" fmla="*/ 728 w 960"/>
              <a:gd name="T63" fmla="*/ 622 h 10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60" h="1056">
                <a:moveTo>
                  <a:pt x="688" y="288"/>
                </a:moveTo>
                <a:cubicBezTo>
                  <a:pt x="756" y="356"/>
                  <a:pt x="756" y="356"/>
                  <a:pt x="756" y="356"/>
                </a:cubicBezTo>
                <a:cubicBezTo>
                  <a:pt x="675" y="437"/>
                  <a:pt x="675" y="437"/>
                  <a:pt x="675" y="437"/>
                </a:cubicBezTo>
                <a:cubicBezTo>
                  <a:pt x="731" y="470"/>
                  <a:pt x="778" y="517"/>
                  <a:pt x="811" y="573"/>
                </a:cubicBezTo>
                <a:cubicBezTo>
                  <a:pt x="892" y="492"/>
                  <a:pt x="892" y="492"/>
                  <a:pt x="892" y="492"/>
                </a:cubicBezTo>
                <a:cubicBezTo>
                  <a:pt x="960" y="560"/>
                  <a:pt x="960" y="560"/>
                  <a:pt x="960" y="560"/>
                </a:cubicBezTo>
                <a:cubicBezTo>
                  <a:pt x="960" y="288"/>
                  <a:pt x="960" y="288"/>
                  <a:pt x="960" y="288"/>
                </a:cubicBezTo>
                <a:lnTo>
                  <a:pt x="688" y="288"/>
                </a:lnTo>
                <a:close/>
                <a:moveTo>
                  <a:pt x="384" y="396"/>
                </a:moveTo>
                <a:cubicBezTo>
                  <a:pt x="415" y="388"/>
                  <a:pt x="447" y="384"/>
                  <a:pt x="480" y="384"/>
                </a:cubicBezTo>
                <a:cubicBezTo>
                  <a:pt x="513" y="384"/>
                  <a:pt x="545" y="388"/>
                  <a:pt x="576" y="396"/>
                </a:cubicBezTo>
                <a:cubicBezTo>
                  <a:pt x="576" y="192"/>
                  <a:pt x="576" y="192"/>
                  <a:pt x="576" y="192"/>
                </a:cubicBezTo>
                <a:cubicBezTo>
                  <a:pt x="672" y="192"/>
                  <a:pt x="672" y="192"/>
                  <a:pt x="672" y="192"/>
                </a:cubicBezTo>
                <a:cubicBezTo>
                  <a:pt x="480" y="0"/>
                  <a:pt x="480" y="0"/>
                  <a:pt x="480" y="0"/>
                </a:cubicBezTo>
                <a:cubicBezTo>
                  <a:pt x="288" y="192"/>
                  <a:pt x="288" y="192"/>
                  <a:pt x="288" y="192"/>
                </a:cubicBezTo>
                <a:cubicBezTo>
                  <a:pt x="384" y="192"/>
                  <a:pt x="384" y="192"/>
                  <a:pt x="384" y="192"/>
                </a:cubicBezTo>
                <a:lnTo>
                  <a:pt x="384" y="396"/>
                </a:lnTo>
                <a:close/>
                <a:moveTo>
                  <a:pt x="285" y="437"/>
                </a:moveTo>
                <a:cubicBezTo>
                  <a:pt x="204" y="356"/>
                  <a:pt x="204" y="356"/>
                  <a:pt x="204" y="356"/>
                </a:cubicBezTo>
                <a:cubicBezTo>
                  <a:pt x="272" y="288"/>
                  <a:pt x="272" y="288"/>
                  <a:pt x="272" y="288"/>
                </a:cubicBezTo>
                <a:cubicBezTo>
                  <a:pt x="0" y="288"/>
                  <a:pt x="0" y="288"/>
                  <a:pt x="0" y="288"/>
                </a:cubicBezTo>
                <a:cubicBezTo>
                  <a:pt x="0" y="560"/>
                  <a:pt x="0" y="560"/>
                  <a:pt x="0" y="560"/>
                </a:cubicBezTo>
                <a:cubicBezTo>
                  <a:pt x="68" y="492"/>
                  <a:pt x="68" y="492"/>
                  <a:pt x="68" y="492"/>
                </a:cubicBezTo>
                <a:cubicBezTo>
                  <a:pt x="149" y="573"/>
                  <a:pt x="149" y="573"/>
                  <a:pt x="149" y="573"/>
                </a:cubicBezTo>
                <a:cubicBezTo>
                  <a:pt x="182" y="517"/>
                  <a:pt x="229" y="470"/>
                  <a:pt x="285" y="437"/>
                </a:cubicBezTo>
                <a:close/>
                <a:moveTo>
                  <a:pt x="728" y="622"/>
                </a:moveTo>
                <a:cubicBezTo>
                  <a:pt x="753" y="665"/>
                  <a:pt x="768" y="715"/>
                  <a:pt x="768" y="768"/>
                </a:cubicBezTo>
                <a:cubicBezTo>
                  <a:pt x="768" y="927"/>
                  <a:pt x="639" y="1056"/>
                  <a:pt x="480" y="1056"/>
                </a:cubicBezTo>
                <a:cubicBezTo>
                  <a:pt x="321" y="1056"/>
                  <a:pt x="192" y="927"/>
                  <a:pt x="192" y="768"/>
                </a:cubicBezTo>
                <a:cubicBezTo>
                  <a:pt x="192" y="609"/>
                  <a:pt x="321" y="480"/>
                  <a:pt x="480" y="480"/>
                </a:cubicBezTo>
                <a:cubicBezTo>
                  <a:pt x="480" y="768"/>
                  <a:pt x="480" y="768"/>
                  <a:pt x="480" y="768"/>
                </a:cubicBezTo>
                <a:lnTo>
                  <a:pt x="728" y="62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7BBD0741-1720-4E55-848D-26748FC674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’s in it for </a:t>
            </a:r>
            <a:r>
              <a:rPr lang="en-GB" u="sng" dirty="0"/>
              <a:t>us</a:t>
            </a:r>
            <a:r>
              <a:rPr lang="en-GB" dirty="0"/>
              <a:t>?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A9D9267-4293-4FE8-A796-26FF72D0DFE8}"/>
              </a:ext>
            </a:extLst>
          </p:cNvPr>
          <p:cNvGrpSpPr/>
          <p:nvPr/>
        </p:nvGrpSpPr>
        <p:grpSpPr>
          <a:xfrm>
            <a:off x="13073510" y="409502"/>
            <a:ext cx="871090" cy="797592"/>
            <a:chOff x="1921047" y="2009393"/>
            <a:chExt cx="3929255" cy="3597728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ED43504C-2EC3-4EA2-8C0F-22B3DF75E734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52BF6D5-6140-4624-8DA6-70CC0D6AA36E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162C7F8B-E5FA-4F7A-8EB8-516482F3279D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A29F61A1-A872-4BDB-A02F-A200748DBC4D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1170E01-3612-4428-8D6B-9529109A7000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4C018598-A72F-40CA-B7F1-713B9AC99953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3EAC1ED8-927E-4344-913F-7D03EE895389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BD16CE4-10D6-44C7-9603-9AC3BC9D38D0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B55D43B5-7943-4777-9964-C1AA5FA901B0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2CDD0591-53FD-41FA-8E14-A90956C57699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A6591A5F-60F6-465E-84F4-4E424BA86AEA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B324BCB1-4CB2-42A9-B0D6-83D168E214B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80AF677E-5F64-444B-83DE-BC56EC9C4A1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6FD728AF-5BF0-4203-B008-0F0737BB70D8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89794A65-EE87-4222-A2FE-2C2A8512429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1D1FE63E-3CD8-4A94-BEEA-4AA764D5A30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8C086C30-9A01-4F64-A3AC-5FE0AE9F30A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29F4C60B-CEE4-4E01-A60B-9E0493F2EF1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C529A00-7553-41A6-9389-501E3A04464A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5CF9C51D-7EBF-44ED-96F4-F5EB5326156F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5D76335C-DE6C-4998-B470-217D5B58BC3B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31D101E1-8D6A-4007-BA4C-12471A952A47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5822433C-526B-4EF9-8F28-8CB9BC92FD5A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648CFE80-0E85-480F-9880-1925DDC1575D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3F8AD0E6-55D2-4016-A709-836D7EB4E46C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C9E2394F-FCC1-4439-AA86-8169FC9DA208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D6507375-6681-48E5-B164-3777991F42C6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0CAA1DB2-4BA3-4A4B-8E9E-5093603F763E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30965AC0-8206-4EAF-AD08-5F034401B4B4}"/>
              </a:ext>
            </a:extLst>
          </p:cNvPr>
          <p:cNvCxnSpPr/>
          <p:nvPr/>
        </p:nvCxnSpPr>
        <p:spPr>
          <a:xfrm flipV="1">
            <a:off x="2625213" y="3410672"/>
            <a:ext cx="383458" cy="1259536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283B3A8B-80F1-4377-8993-A11ADE8E3EE0}"/>
              </a:ext>
            </a:extLst>
          </p:cNvPr>
          <p:cNvCxnSpPr>
            <a:cxnSpLocks/>
          </p:cNvCxnSpPr>
          <p:nvPr/>
        </p:nvCxnSpPr>
        <p:spPr>
          <a:xfrm flipV="1">
            <a:off x="2512541" y="3563072"/>
            <a:ext cx="2926189" cy="1750916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F2B40C27-4E6D-4A31-8ACC-34C4CA56D838}"/>
              </a:ext>
            </a:extLst>
          </p:cNvPr>
          <p:cNvCxnSpPr>
            <a:cxnSpLocks/>
          </p:cNvCxnSpPr>
          <p:nvPr/>
        </p:nvCxnSpPr>
        <p:spPr>
          <a:xfrm>
            <a:off x="2399869" y="5313988"/>
            <a:ext cx="3038861" cy="485571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24FED65D-9E96-4902-8C05-7A517B1D11F8}"/>
              </a:ext>
            </a:extLst>
          </p:cNvPr>
          <p:cNvCxnSpPr>
            <a:cxnSpLocks/>
          </p:cNvCxnSpPr>
          <p:nvPr/>
        </p:nvCxnSpPr>
        <p:spPr>
          <a:xfrm>
            <a:off x="3366157" y="2821858"/>
            <a:ext cx="2072573" cy="2977702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FAED72E2-B90B-4AC7-B176-B2DC97F0C2D3}"/>
              </a:ext>
            </a:extLst>
          </p:cNvPr>
          <p:cNvCxnSpPr>
            <a:cxnSpLocks/>
          </p:cNvCxnSpPr>
          <p:nvPr/>
        </p:nvCxnSpPr>
        <p:spPr>
          <a:xfrm flipV="1">
            <a:off x="3280276" y="2344090"/>
            <a:ext cx="1426718" cy="563237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7FD04061-24CC-4403-A3E7-A3077CAFA3F8}"/>
              </a:ext>
            </a:extLst>
          </p:cNvPr>
          <p:cNvCxnSpPr>
            <a:cxnSpLocks/>
          </p:cNvCxnSpPr>
          <p:nvPr/>
        </p:nvCxnSpPr>
        <p:spPr>
          <a:xfrm flipV="1">
            <a:off x="1854283" y="2907327"/>
            <a:ext cx="1425993" cy="765810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23373F4-82FC-4F2F-B426-15B87D12EAD0}"/>
              </a:ext>
            </a:extLst>
          </p:cNvPr>
          <p:cNvCxnSpPr>
            <a:cxnSpLocks/>
          </p:cNvCxnSpPr>
          <p:nvPr/>
        </p:nvCxnSpPr>
        <p:spPr>
          <a:xfrm>
            <a:off x="5407886" y="3477385"/>
            <a:ext cx="700087" cy="1245958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6888D0EF-0741-47CF-903A-E12483AFD02D}"/>
              </a:ext>
            </a:extLst>
          </p:cNvPr>
          <p:cNvCxnSpPr>
            <a:cxnSpLocks/>
          </p:cNvCxnSpPr>
          <p:nvPr/>
        </p:nvCxnSpPr>
        <p:spPr>
          <a:xfrm flipV="1">
            <a:off x="5398856" y="4748585"/>
            <a:ext cx="782764" cy="1078335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2E3CA0D4-79CB-4633-8226-6A4A08D15B7A}"/>
              </a:ext>
            </a:extLst>
          </p:cNvPr>
          <p:cNvCxnSpPr>
            <a:cxnSpLocks/>
          </p:cNvCxnSpPr>
          <p:nvPr/>
        </p:nvCxnSpPr>
        <p:spPr>
          <a:xfrm flipV="1">
            <a:off x="3650843" y="5841817"/>
            <a:ext cx="1757043" cy="494259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732A16A1-EA29-4125-B3C3-797C8FBC9408}"/>
              </a:ext>
            </a:extLst>
          </p:cNvPr>
          <p:cNvCxnSpPr>
            <a:cxnSpLocks/>
          </p:cNvCxnSpPr>
          <p:nvPr/>
        </p:nvCxnSpPr>
        <p:spPr>
          <a:xfrm flipV="1">
            <a:off x="3675535" y="5140415"/>
            <a:ext cx="460879" cy="1183077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15705BB8-25BF-4F94-A07D-A9E4E22018E6}"/>
              </a:ext>
            </a:extLst>
          </p:cNvPr>
          <p:cNvCxnSpPr>
            <a:cxnSpLocks/>
          </p:cNvCxnSpPr>
          <p:nvPr/>
        </p:nvCxnSpPr>
        <p:spPr>
          <a:xfrm>
            <a:off x="5407886" y="3481015"/>
            <a:ext cx="0" cy="2369490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5" name="Oval 84">
            <a:extLst>
              <a:ext uri="{FF2B5EF4-FFF2-40B4-BE49-F238E27FC236}">
                <a16:creationId xmlns:a16="http://schemas.microsoft.com/office/drawing/2014/main" id="{CC8329B2-6B32-4EE5-B6B0-5534958D9CF9}"/>
              </a:ext>
            </a:extLst>
          </p:cNvPr>
          <p:cNvSpPr/>
          <p:nvPr/>
        </p:nvSpPr>
        <p:spPr>
          <a:xfrm>
            <a:off x="4478446" y="2108345"/>
            <a:ext cx="485571" cy="48557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DF900C95-AE94-49C0-96C9-73D8899A780B}"/>
              </a:ext>
            </a:extLst>
          </p:cNvPr>
          <p:cNvSpPr/>
          <p:nvPr/>
        </p:nvSpPr>
        <p:spPr>
          <a:xfrm>
            <a:off x="3435863" y="6063921"/>
            <a:ext cx="485571" cy="4855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338B2E05-2A8D-4D50-8F52-AD704D790EF6}"/>
              </a:ext>
            </a:extLst>
          </p:cNvPr>
          <p:cNvSpPr/>
          <p:nvPr/>
        </p:nvSpPr>
        <p:spPr>
          <a:xfrm>
            <a:off x="3875331" y="4899004"/>
            <a:ext cx="485571" cy="48557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ED83A14C-89FB-478D-B84E-FCB23D6309E3}"/>
              </a:ext>
            </a:extLst>
          </p:cNvPr>
          <p:cNvSpPr/>
          <p:nvPr/>
        </p:nvSpPr>
        <p:spPr>
          <a:xfrm>
            <a:off x="5908297" y="4452495"/>
            <a:ext cx="485571" cy="4855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70E0D597-D1E2-4A59-833E-B3613962147A}"/>
              </a:ext>
            </a:extLst>
          </p:cNvPr>
          <p:cNvSpPr/>
          <p:nvPr/>
        </p:nvSpPr>
        <p:spPr>
          <a:xfrm>
            <a:off x="1617009" y="3410672"/>
            <a:ext cx="485571" cy="4855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9E79A0C8-64C2-4A2A-89CC-E060B8603B83}"/>
              </a:ext>
            </a:extLst>
          </p:cNvPr>
          <p:cNvGrpSpPr/>
          <p:nvPr/>
        </p:nvGrpSpPr>
        <p:grpSpPr>
          <a:xfrm>
            <a:off x="2391804" y="1980537"/>
            <a:ext cx="1787887" cy="1787887"/>
            <a:chOff x="3684371" y="4947218"/>
            <a:chExt cx="2105132" cy="2105132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A38B9DAC-EC74-4269-BC4F-D007A7469C4C}"/>
                </a:ext>
              </a:extLst>
            </p:cNvPr>
            <p:cNvSpPr/>
            <p:nvPr/>
          </p:nvSpPr>
          <p:spPr>
            <a:xfrm>
              <a:off x="3684371" y="4947218"/>
              <a:ext cx="2105132" cy="210513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400" dirty="0">
                  <a:solidFill>
                    <a:schemeClr val="tx1"/>
                  </a:solidFill>
                </a:rPr>
                <a:t>Find Experts</a:t>
              </a:r>
            </a:p>
          </p:txBody>
        </p:sp>
        <p:sp>
          <p:nvSpPr>
            <p:cNvPr id="10" name="Freeform 85">
              <a:extLst>
                <a:ext uri="{FF2B5EF4-FFF2-40B4-BE49-F238E27FC236}">
                  <a16:creationId xmlns:a16="http://schemas.microsoft.com/office/drawing/2014/main" id="{2C065FE2-E007-49DE-8A00-E8EC535570B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531443" y="6506148"/>
              <a:ext cx="410987" cy="410836"/>
            </a:xfrm>
            <a:custGeom>
              <a:avLst/>
              <a:gdLst>
                <a:gd name="T0" fmla="*/ 816 w 1152"/>
                <a:gd name="T1" fmla="*/ 240 h 1152"/>
                <a:gd name="T2" fmla="*/ 720 w 1152"/>
                <a:gd name="T3" fmla="*/ 336 h 1152"/>
                <a:gd name="T4" fmla="*/ 816 w 1152"/>
                <a:gd name="T5" fmla="*/ 432 h 1152"/>
                <a:gd name="T6" fmla="*/ 912 w 1152"/>
                <a:gd name="T7" fmla="*/ 336 h 1152"/>
                <a:gd name="T8" fmla="*/ 816 w 1152"/>
                <a:gd name="T9" fmla="*/ 240 h 1152"/>
                <a:gd name="T10" fmla="*/ 1051 w 1152"/>
                <a:gd name="T11" fmla="*/ 384 h 1152"/>
                <a:gd name="T12" fmla="*/ 1016 w 1152"/>
                <a:gd name="T13" fmla="*/ 468 h 1152"/>
                <a:gd name="T14" fmla="*/ 1088 w 1152"/>
                <a:gd name="T15" fmla="*/ 540 h 1152"/>
                <a:gd name="T16" fmla="*/ 1020 w 1152"/>
                <a:gd name="T17" fmla="*/ 608 h 1152"/>
                <a:gd name="T18" fmla="*/ 948 w 1152"/>
                <a:gd name="T19" fmla="*/ 536 h 1152"/>
                <a:gd name="T20" fmla="*/ 864 w 1152"/>
                <a:gd name="T21" fmla="*/ 571 h 1152"/>
                <a:gd name="T22" fmla="*/ 864 w 1152"/>
                <a:gd name="T23" fmla="*/ 672 h 1152"/>
                <a:gd name="T24" fmla="*/ 768 w 1152"/>
                <a:gd name="T25" fmla="*/ 672 h 1152"/>
                <a:gd name="T26" fmla="*/ 768 w 1152"/>
                <a:gd name="T27" fmla="*/ 571 h 1152"/>
                <a:gd name="T28" fmla="*/ 684 w 1152"/>
                <a:gd name="T29" fmla="*/ 536 h 1152"/>
                <a:gd name="T30" fmla="*/ 612 w 1152"/>
                <a:gd name="T31" fmla="*/ 608 h 1152"/>
                <a:gd name="T32" fmla="*/ 544 w 1152"/>
                <a:gd name="T33" fmla="*/ 540 h 1152"/>
                <a:gd name="T34" fmla="*/ 616 w 1152"/>
                <a:gd name="T35" fmla="*/ 468 h 1152"/>
                <a:gd name="T36" fmla="*/ 581 w 1152"/>
                <a:gd name="T37" fmla="*/ 384 h 1152"/>
                <a:gd name="T38" fmla="*/ 480 w 1152"/>
                <a:gd name="T39" fmla="*/ 384 h 1152"/>
                <a:gd name="T40" fmla="*/ 480 w 1152"/>
                <a:gd name="T41" fmla="*/ 288 h 1152"/>
                <a:gd name="T42" fmla="*/ 581 w 1152"/>
                <a:gd name="T43" fmla="*/ 288 h 1152"/>
                <a:gd name="T44" fmla="*/ 616 w 1152"/>
                <a:gd name="T45" fmla="*/ 204 h 1152"/>
                <a:gd name="T46" fmla="*/ 544 w 1152"/>
                <a:gd name="T47" fmla="*/ 132 h 1152"/>
                <a:gd name="T48" fmla="*/ 612 w 1152"/>
                <a:gd name="T49" fmla="*/ 64 h 1152"/>
                <a:gd name="T50" fmla="*/ 684 w 1152"/>
                <a:gd name="T51" fmla="*/ 136 h 1152"/>
                <a:gd name="T52" fmla="*/ 768 w 1152"/>
                <a:gd name="T53" fmla="*/ 101 h 1152"/>
                <a:gd name="T54" fmla="*/ 768 w 1152"/>
                <a:gd name="T55" fmla="*/ 0 h 1152"/>
                <a:gd name="T56" fmla="*/ 864 w 1152"/>
                <a:gd name="T57" fmla="*/ 0 h 1152"/>
                <a:gd name="T58" fmla="*/ 864 w 1152"/>
                <a:gd name="T59" fmla="*/ 101 h 1152"/>
                <a:gd name="T60" fmla="*/ 948 w 1152"/>
                <a:gd name="T61" fmla="*/ 136 h 1152"/>
                <a:gd name="T62" fmla="*/ 1020 w 1152"/>
                <a:gd name="T63" fmla="*/ 64 h 1152"/>
                <a:gd name="T64" fmla="*/ 1088 w 1152"/>
                <a:gd name="T65" fmla="*/ 132 h 1152"/>
                <a:gd name="T66" fmla="*/ 1016 w 1152"/>
                <a:gd name="T67" fmla="*/ 204 h 1152"/>
                <a:gd name="T68" fmla="*/ 1051 w 1152"/>
                <a:gd name="T69" fmla="*/ 288 h 1152"/>
                <a:gd name="T70" fmla="*/ 1152 w 1152"/>
                <a:gd name="T71" fmla="*/ 288 h 1152"/>
                <a:gd name="T72" fmla="*/ 1152 w 1152"/>
                <a:gd name="T73" fmla="*/ 384 h 1152"/>
                <a:gd name="T74" fmla="*/ 1051 w 1152"/>
                <a:gd name="T75" fmla="*/ 384 h 1152"/>
                <a:gd name="T76" fmla="*/ 528 w 1152"/>
                <a:gd name="T77" fmla="*/ 576 h 1152"/>
                <a:gd name="T78" fmla="*/ 336 w 1152"/>
                <a:gd name="T79" fmla="*/ 768 h 1152"/>
                <a:gd name="T80" fmla="*/ 144 w 1152"/>
                <a:gd name="T81" fmla="*/ 576 h 1152"/>
                <a:gd name="T82" fmla="*/ 336 w 1152"/>
                <a:gd name="T83" fmla="*/ 384 h 1152"/>
                <a:gd name="T84" fmla="*/ 528 w 1152"/>
                <a:gd name="T85" fmla="*/ 576 h 1152"/>
                <a:gd name="T86" fmla="*/ 672 w 1152"/>
                <a:gd name="T87" fmla="*/ 1152 h 1152"/>
                <a:gd name="T88" fmla="*/ 0 w 1152"/>
                <a:gd name="T89" fmla="*/ 1152 h 1152"/>
                <a:gd name="T90" fmla="*/ 0 w 1152"/>
                <a:gd name="T91" fmla="*/ 1104 h 1152"/>
                <a:gd name="T92" fmla="*/ 336 w 1152"/>
                <a:gd name="T93" fmla="*/ 768 h 1152"/>
                <a:gd name="T94" fmla="*/ 672 w 1152"/>
                <a:gd name="T95" fmla="*/ 1104 h 1152"/>
                <a:gd name="T96" fmla="*/ 672 w 1152"/>
                <a:gd name="T97" fmla="*/ 1152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52" h="1152">
                  <a:moveTo>
                    <a:pt x="816" y="240"/>
                  </a:moveTo>
                  <a:cubicBezTo>
                    <a:pt x="763" y="240"/>
                    <a:pt x="720" y="283"/>
                    <a:pt x="720" y="336"/>
                  </a:cubicBezTo>
                  <a:cubicBezTo>
                    <a:pt x="720" y="389"/>
                    <a:pt x="763" y="432"/>
                    <a:pt x="816" y="432"/>
                  </a:cubicBezTo>
                  <a:cubicBezTo>
                    <a:pt x="869" y="432"/>
                    <a:pt x="912" y="389"/>
                    <a:pt x="912" y="336"/>
                  </a:cubicBezTo>
                  <a:cubicBezTo>
                    <a:pt x="912" y="283"/>
                    <a:pt x="869" y="240"/>
                    <a:pt x="816" y="240"/>
                  </a:cubicBezTo>
                  <a:close/>
                  <a:moveTo>
                    <a:pt x="1051" y="384"/>
                  </a:moveTo>
                  <a:cubicBezTo>
                    <a:pt x="1045" y="415"/>
                    <a:pt x="1033" y="443"/>
                    <a:pt x="1016" y="468"/>
                  </a:cubicBezTo>
                  <a:cubicBezTo>
                    <a:pt x="1088" y="540"/>
                    <a:pt x="1088" y="540"/>
                    <a:pt x="1088" y="540"/>
                  </a:cubicBezTo>
                  <a:cubicBezTo>
                    <a:pt x="1020" y="608"/>
                    <a:pt x="1020" y="608"/>
                    <a:pt x="1020" y="608"/>
                  </a:cubicBezTo>
                  <a:cubicBezTo>
                    <a:pt x="948" y="536"/>
                    <a:pt x="948" y="536"/>
                    <a:pt x="948" y="536"/>
                  </a:cubicBezTo>
                  <a:cubicBezTo>
                    <a:pt x="923" y="553"/>
                    <a:pt x="895" y="565"/>
                    <a:pt x="864" y="571"/>
                  </a:cubicBezTo>
                  <a:cubicBezTo>
                    <a:pt x="864" y="672"/>
                    <a:pt x="864" y="672"/>
                    <a:pt x="864" y="672"/>
                  </a:cubicBezTo>
                  <a:cubicBezTo>
                    <a:pt x="768" y="672"/>
                    <a:pt x="768" y="672"/>
                    <a:pt x="768" y="672"/>
                  </a:cubicBezTo>
                  <a:cubicBezTo>
                    <a:pt x="768" y="571"/>
                    <a:pt x="768" y="571"/>
                    <a:pt x="768" y="571"/>
                  </a:cubicBezTo>
                  <a:cubicBezTo>
                    <a:pt x="737" y="565"/>
                    <a:pt x="709" y="553"/>
                    <a:pt x="684" y="536"/>
                  </a:cubicBezTo>
                  <a:cubicBezTo>
                    <a:pt x="612" y="608"/>
                    <a:pt x="612" y="608"/>
                    <a:pt x="612" y="608"/>
                  </a:cubicBezTo>
                  <a:cubicBezTo>
                    <a:pt x="544" y="540"/>
                    <a:pt x="544" y="540"/>
                    <a:pt x="544" y="540"/>
                  </a:cubicBezTo>
                  <a:cubicBezTo>
                    <a:pt x="616" y="468"/>
                    <a:pt x="616" y="468"/>
                    <a:pt x="616" y="468"/>
                  </a:cubicBezTo>
                  <a:cubicBezTo>
                    <a:pt x="599" y="443"/>
                    <a:pt x="587" y="415"/>
                    <a:pt x="581" y="384"/>
                  </a:cubicBezTo>
                  <a:cubicBezTo>
                    <a:pt x="480" y="384"/>
                    <a:pt x="480" y="384"/>
                    <a:pt x="480" y="384"/>
                  </a:cubicBezTo>
                  <a:cubicBezTo>
                    <a:pt x="480" y="288"/>
                    <a:pt x="480" y="288"/>
                    <a:pt x="480" y="288"/>
                  </a:cubicBezTo>
                  <a:cubicBezTo>
                    <a:pt x="581" y="288"/>
                    <a:pt x="581" y="288"/>
                    <a:pt x="581" y="288"/>
                  </a:cubicBezTo>
                  <a:cubicBezTo>
                    <a:pt x="587" y="257"/>
                    <a:pt x="599" y="229"/>
                    <a:pt x="616" y="204"/>
                  </a:cubicBezTo>
                  <a:cubicBezTo>
                    <a:pt x="544" y="132"/>
                    <a:pt x="544" y="132"/>
                    <a:pt x="544" y="132"/>
                  </a:cubicBezTo>
                  <a:cubicBezTo>
                    <a:pt x="612" y="64"/>
                    <a:pt x="612" y="64"/>
                    <a:pt x="612" y="64"/>
                  </a:cubicBezTo>
                  <a:cubicBezTo>
                    <a:pt x="684" y="136"/>
                    <a:pt x="684" y="136"/>
                    <a:pt x="684" y="136"/>
                  </a:cubicBezTo>
                  <a:cubicBezTo>
                    <a:pt x="709" y="119"/>
                    <a:pt x="737" y="107"/>
                    <a:pt x="768" y="101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864" y="0"/>
                    <a:pt x="864" y="0"/>
                    <a:pt x="864" y="0"/>
                  </a:cubicBezTo>
                  <a:cubicBezTo>
                    <a:pt x="864" y="101"/>
                    <a:pt x="864" y="101"/>
                    <a:pt x="864" y="101"/>
                  </a:cubicBezTo>
                  <a:cubicBezTo>
                    <a:pt x="895" y="107"/>
                    <a:pt x="923" y="119"/>
                    <a:pt x="948" y="136"/>
                  </a:cubicBezTo>
                  <a:cubicBezTo>
                    <a:pt x="1020" y="64"/>
                    <a:pt x="1020" y="64"/>
                    <a:pt x="1020" y="64"/>
                  </a:cubicBezTo>
                  <a:cubicBezTo>
                    <a:pt x="1088" y="132"/>
                    <a:pt x="1088" y="132"/>
                    <a:pt x="1088" y="132"/>
                  </a:cubicBezTo>
                  <a:cubicBezTo>
                    <a:pt x="1016" y="204"/>
                    <a:pt x="1016" y="204"/>
                    <a:pt x="1016" y="204"/>
                  </a:cubicBezTo>
                  <a:cubicBezTo>
                    <a:pt x="1033" y="229"/>
                    <a:pt x="1045" y="257"/>
                    <a:pt x="1051" y="288"/>
                  </a:cubicBezTo>
                  <a:cubicBezTo>
                    <a:pt x="1152" y="288"/>
                    <a:pt x="1152" y="288"/>
                    <a:pt x="1152" y="288"/>
                  </a:cubicBezTo>
                  <a:cubicBezTo>
                    <a:pt x="1152" y="384"/>
                    <a:pt x="1152" y="384"/>
                    <a:pt x="1152" y="384"/>
                  </a:cubicBezTo>
                  <a:lnTo>
                    <a:pt x="1051" y="384"/>
                  </a:lnTo>
                  <a:close/>
                  <a:moveTo>
                    <a:pt x="528" y="576"/>
                  </a:moveTo>
                  <a:cubicBezTo>
                    <a:pt x="528" y="682"/>
                    <a:pt x="442" y="768"/>
                    <a:pt x="336" y="768"/>
                  </a:cubicBezTo>
                  <a:cubicBezTo>
                    <a:pt x="230" y="768"/>
                    <a:pt x="144" y="682"/>
                    <a:pt x="144" y="576"/>
                  </a:cubicBezTo>
                  <a:cubicBezTo>
                    <a:pt x="144" y="470"/>
                    <a:pt x="230" y="384"/>
                    <a:pt x="336" y="384"/>
                  </a:cubicBezTo>
                  <a:cubicBezTo>
                    <a:pt x="442" y="384"/>
                    <a:pt x="528" y="470"/>
                    <a:pt x="528" y="576"/>
                  </a:cubicBezTo>
                  <a:close/>
                  <a:moveTo>
                    <a:pt x="672" y="1152"/>
                  </a:moveTo>
                  <a:cubicBezTo>
                    <a:pt x="0" y="1152"/>
                    <a:pt x="0" y="1152"/>
                    <a:pt x="0" y="1152"/>
                  </a:cubicBezTo>
                  <a:cubicBezTo>
                    <a:pt x="0" y="1104"/>
                    <a:pt x="0" y="1104"/>
                    <a:pt x="0" y="1104"/>
                  </a:cubicBezTo>
                  <a:cubicBezTo>
                    <a:pt x="0" y="918"/>
                    <a:pt x="150" y="768"/>
                    <a:pt x="336" y="768"/>
                  </a:cubicBezTo>
                  <a:cubicBezTo>
                    <a:pt x="522" y="768"/>
                    <a:pt x="672" y="918"/>
                    <a:pt x="672" y="1104"/>
                  </a:cubicBezTo>
                  <a:lnTo>
                    <a:pt x="672" y="115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A5CCB2B1-F110-45D2-A5AD-168BB9D73A01}"/>
              </a:ext>
            </a:extLst>
          </p:cNvPr>
          <p:cNvGrpSpPr/>
          <p:nvPr/>
        </p:nvGrpSpPr>
        <p:grpSpPr>
          <a:xfrm>
            <a:off x="1539108" y="4209654"/>
            <a:ext cx="2105132" cy="2105132"/>
            <a:chOff x="1250565" y="3397430"/>
            <a:chExt cx="2105132" cy="2105132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BE1DDCE-2A99-4FB1-9724-32F6958645B7}"/>
                </a:ext>
              </a:extLst>
            </p:cNvPr>
            <p:cNvSpPr/>
            <p:nvPr/>
          </p:nvSpPr>
          <p:spPr>
            <a:xfrm>
              <a:off x="1250565" y="3397430"/>
              <a:ext cx="2105132" cy="2105132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dirty="0"/>
            </a:p>
          </p:txBody>
        </p:sp>
        <p:sp>
          <p:nvSpPr>
            <p:cNvPr id="15" name="Freeform 166">
              <a:extLst>
                <a:ext uri="{FF2B5EF4-FFF2-40B4-BE49-F238E27FC236}">
                  <a16:creationId xmlns:a16="http://schemas.microsoft.com/office/drawing/2014/main" id="{2F6B3888-7C83-4355-B817-2CC62574C5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03745" y="4834511"/>
              <a:ext cx="382701" cy="458888"/>
            </a:xfrm>
            <a:custGeom>
              <a:avLst/>
              <a:gdLst>
                <a:gd name="T0" fmla="*/ 192 w 960"/>
                <a:gd name="T1" fmla="*/ 480 h 1152"/>
                <a:gd name="T2" fmla="*/ 480 w 960"/>
                <a:gd name="T3" fmla="*/ 480 h 1152"/>
                <a:gd name="T4" fmla="*/ 480 w 960"/>
                <a:gd name="T5" fmla="*/ 576 h 1152"/>
                <a:gd name="T6" fmla="*/ 192 w 960"/>
                <a:gd name="T7" fmla="*/ 576 h 1152"/>
                <a:gd name="T8" fmla="*/ 192 w 960"/>
                <a:gd name="T9" fmla="*/ 480 h 1152"/>
                <a:gd name="T10" fmla="*/ 723 w 960"/>
                <a:gd name="T11" fmla="*/ 413 h 1152"/>
                <a:gd name="T12" fmla="*/ 675 w 960"/>
                <a:gd name="T13" fmla="*/ 460 h 1152"/>
                <a:gd name="T14" fmla="*/ 628 w 960"/>
                <a:gd name="T15" fmla="*/ 413 h 1152"/>
                <a:gd name="T16" fmla="*/ 560 w 960"/>
                <a:gd name="T17" fmla="*/ 481 h 1152"/>
                <a:gd name="T18" fmla="*/ 608 w 960"/>
                <a:gd name="T19" fmla="*/ 528 h 1152"/>
                <a:gd name="T20" fmla="*/ 560 w 960"/>
                <a:gd name="T21" fmla="*/ 576 h 1152"/>
                <a:gd name="T22" fmla="*/ 628 w 960"/>
                <a:gd name="T23" fmla="*/ 643 h 1152"/>
                <a:gd name="T24" fmla="*/ 675 w 960"/>
                <a:gd name="T25" fmla="*/ 596 h 1152"/>
                <a:gd name="T26" fmla="*/ 723 w 960"/>
                <a:gd name="T27" fmla="*/ 644 h 1152"/>
                <a:gd name="T28" fmla="*/ 791 w 960"/>
                <a:gd name="T29" fmla="*/ 576 h 1152"/>
                <a:gd name="T30" fmla="*/ 743 w 960"/>
                <a:gd name="T31" fmla="*/ 528 h 1152"/>
                <a:gd name="T32" fmla="*/ 791 w 960"/>
                <a:gd name="T33" fmla="*/ 480 h 1152"/>
                <a:gd name="T34" fmla="*/ 723 w 960"/>
                <a:gd name="T35" fmla="*/ 413 h 1152"/>
                <a:gd name="T36" fmla="*/ 661 w 960"/>
                <a:gd name="T37" fmla="*/ 795 h 1152"/>
                <a:gd name="T38" fmla="*/ 613 w 960"/>
                <a:gd name="T39" fmla="*/ 748 h 1152"/>
                <a:gd name="T40" fmla="*/ 546 w 960"/>
                <a:gd name="T41" fmla="*/ 816 h 1152"/>
                <a:gd name="T42" fmla="*/ 661 w 960"/>
                <a:gd name="T43" fmla="*/ 931 h 1152"/>
                <a:gd name="T44" fmla="*/ 824 w 960"/>
                <a:gd name="T45" fmla="*/ 768 h 1152"/>
                <a:gd name="T46" fmla="*/ 756 w 960"/>
                <a:gd name="T47" fmla="*/ 700 h 1152"/>
                <a:gd name="T48" fmla="*/ 661 w 960"/>
                <a:gd name="T49" fmla="*/ 795 h 1152"/>
                <a:gd name="T50" fmla="*/ 192 w 960"/>
                <a:gd name="T51" fmla="*/ 864 h 1152"/>
                <a:gd name="T52" fmla="*/ 480 w 960"/>
                <a:gd name="T53" fmla="*/ 864 h 1152"/>
                <a:gd name="T54" fmla="*/ 480 w 960"/>
                <a:gd name="T55" fmla="*/ 768 h 1152"/>
                <a:gd name="T56" fmla="*/ 192 w 960"/>
                <a:gd name="T57" fmla="*/ 768 h 1152"/>
                <a:gd name="T58" fmla="*/ 192 w 960"/>
                <a:gd name="T59" fmla="*/ 864 h 1152"/>
                <a:gd name="T60" fmla="*/ 960 w 960"/>
                <a:gd name="T61" fmla="*/ 96 h 1152"/>
                <a:gd name="T62" fmla="*/ 960 w 960"/>
                <a:gd name="T63" fmla="*/ 1152 h 1152"/>
                <a:gd name="T64" fmla="*/ 0 w 960"/>
                <a:gd name="T65" fmla="*/ 1152 h 1152"/>
                <a:gd name="T66" fmla="*/ 0 w 960"/>
                <a:gd name="T67" fmla="*/ 96 h 1152"/>
                <a:gd name="T68" fmla="*/ 192 w 960"/>
                <a:gd name="T69" fmla="*/ 96 h 1152"/>
                <a:gd name="T70" fmla="*/ 288 w 960"/>
                <a:gd name="T71" fmla="*/ 0 h 1152"/>
                <a:gd name="T72" fmla="*/ 672 w 960"/>
                <a:gd name="T73" fmla="*/ 0 h 1152"/>
                <a:gd name="T74" fmla="*/ 768 w 960"/>
                <a:gd name="T75" fmla="*/ 96 h 1152"/>
                <a:gd name="T76" fmla="*/ 960 w 960"/>
                <a:gd name="T77" fmla="*/ 96 h 1152"/>
                <a:gd name="T78" fmla="*/ 436 w 960"/>
                <a:gd name="T79" fmla="*/ 96 h 1152"/>
                <a:gd name="T80" fmla="*/ 484 w 960"/>
                <a:gd name="T81" fmla="*/ 144 h 1152"/>
                <a:gd name="T82" fmla="*/ 532 w 960"/>
                <a:gd name="T83" fmla="*/ 96 h 1152"/>
                <a:gd name="T84" fmla="*/ 484 w 960"/>
                <a:gd name="T85" fmla="*/ 48 h 1152"/>
                <a:gd name="T86" fmla="*/ 436 w 960"/>
                <a:gd name="T87" fmla="*/ 96 h 1152"/>
                <a:gd name="T88" fmla="*/ 864 w 960"/>
                <a:gd name="T89" fmla="*/ 192 h 1152"/>
                <a:gd name="T90" fmla="*/ 768 w 960"/>
                <a:gd name="T91" fmla="*/ 192 h 1152"/>
                <a:gd name="T92" fmla="*/ 768 w 960"/>
                <a:gd name="T93" fmla="*/ 288 h 1152"/>
                <a:gd name="T94" fmla="*/ 192 w 960"/>
                <a:gd name="T95" fmla="*/ 288 h 1152"/>
                <a:gd name="T96" fmla="*/ 192 w 960"/>
                <a:gd name="T97" fmla="*/ 192 h 1152"/>
                <a:gd name="T98" fmla="*/ 96 w 960"/>
                <a:gd name="T99" fmla="*/ 192 h 1152"/>
                <a:gd name="T100" fmla="*/ 96 w 960"/>
                <a:gd name="T101" fmla="*/ 1056 h 1152"/>
                <a:gd name="T102" fmla="*/ 864 w 960"/>
                <a:gd name="T103" fmla="*/ 1056 h 1152"/>
                <a:gd name="T104" fmla="*/ 864 w 960"/>
                <a:gd name="T105" fmla="*/ 192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60" h="1152">
                  <a:moveTo>
                    <a:pt x="192" y="480"/>
                  </a:moveTo>
                  <a:cubicBezTo>
                    <a:pt x="480" y="480"/>
                    <a:pt x="480" y="480"/>
                    <a:pt x="480" y="480"/>
                  </a:cubicBezTo>
                  <a:cubicBezTo>
                    <a:pt x="480" y="576"/>
                    <a:pt x="480" y="576"/>
                    <a:pt x="480" y="576"/>
                  </a:cubicBezTo>
                  <a:cubicBezTo>
                    <a:pt x="192" y="576"/>
                    <a:pt x="192" y="576"/>
                    <a:pt x="192" y="576"/>
                  </a:cubicBezTo>
                  <a:lnTo>
                    <a:pt x="192" y="480"/>
                  </a:lnTo>
                  <a:close/>
                  <a:moveTo>
                    <a:pt x="723" y="413"/>
                  </a:moveTo>
                  <a:cubicBezTo>
                    <a:pt x="675" y="460"/>
                    <a:pt x="675" y="460"/>
                    <a:pt x="675" y="460"/>
                  </a:cubicBezTo>
                  <a:cubicBezTo>
                    <a:pt x="628" y="413"/>
                    <a:pt x="628" y="413"/>
                    <a:pt x="628" y="413"/>
                  </a:cubicBezTo>
                  <a:cubicBezTo>
                    <a:pt x="560" y="481"/>
                    <a:pt x="560" y="481"/>
                    <a:pt x="560" y="481"/>
                  </a:cubicBezTo>
                  <a:cubicBezTo>
                    <a:pt x="608" y="528"/>
                    <a:pt x="608" y="528"/>
                    <a:pt x="608" y="528"/>
                  </a:cubicBezTo>
                  <a:cubicBezTo>
                    <a:pt x="560" y="576"/>
                    <a:pt x="560" y="576"/>
                    <a:pt x="560" y="576"/>
                  </a:cubicBezTo>
                  <a:cubicBezTo>
                    <a:pt x="628" y="643"/>
                    <a:pt x="628" y="643"/>
                    <a:pt x="628" y="643"/>
                  </a:cubicBezTo>
                  <a:cubicBezTo>
                    <a:pt x="675" y="596"/>
                    <a:pt x="675" y="596"/>
                    <a:pt x="675" y="596"/>
                  </a:cubicBezTo>
                  <a:cubicBezTo>
                    <a:pt x="723" y="644"/>
                    <a:pt x="723" y="644"/>
                    <a:pt x="723" y="644"/>
                  </a:cubicBezTo>
                  <a:cubicBezTo>
                    <a:pt x="791" y="576"/>
                    <a:pt x="791" y="576"/>
                    <a:pt x="791" y="576"/>
                  </a:cubicBezTo>
                  <a:cubicBezTo>
                    <a:pt x="743" y="528"/>
                    <a:pt x="743" y="528"/>
                    <a:pt x="743" y="528"/>
                  </a:cubicBezTo>
                  <a:cubicBezTo>
                    <a:pt x="791" y="480"/>
                    <a:pt x="791" y="480"/>
                    <a:pt x="791" y="480"/>
                  </a:cubicBezTo>
                  <a:lnTo>
                    <a:pt x="723" y="413"/>
                  </a:lnTo>
                  <a:close/>
                  <a:moveTo>
                    <a:pt x="661" y="795"/>
                  </a:moveTo>
                  <a:cubicBezTo>
                    <a:pt x="613" y="748"/>
                    <a:pt x="613" y="748"/>
                    <a:pt x="613" y="748"/>
                  </a:cubicBezTo>
                  <a:cubicBezTo>
                    <a:pt x="546" y="816"/>
                    <a:pt x="546" y="816"/>
                    <a:pt x="546" y="816"/>
                  </a:cubicBezTo>
                  <a:cubicBezTo>
                    <a:pt x="661" y="931"/>
                    <a:pt x="661" y="931"/>
                    <a:pt x="661" y="931"/>
                  </a:cubicBezTo>
                  <a:cubicBezTo>
                    <a:pt x="824" y="768"/>
                    <a:pt x="824" y="768"/>
                    <a:pt x="824" y="768"/>
                  </a:cubicBezTo>
                  <a:cubicBezTo>
                    <a:pt x="756" y="700"/>
                    <a:pt x="756" y="700"/>
                    <a:pt x="756" y="700"/>
                  </a:cubicBezTo>
                  <a:lnTo>
                    <a:pt x="661" y="795"/>
                  </a:lnTo>
                  <a:close/>
                  <a:moveTo>
                    <a:pt x="192" y="864"/>
                  </a:moveTo>
                  <a:cubicBezTo>
                    <a:pt x="480" y="864"/>
                    <a:pt x="480" y="864"/>
                    <a:pt x="480" y="864"/>
                  </a:cubicBezTo>
                  <a:cubicBezTo>
                    <a:pt x="480" y="768"/>
                    <a:pt x="480" y="768"/>
                    <a:pt x="480" y="768"/>
                  </a:cubicBezTo>
                  <a:cubicBezTo>
                    <a:pt x="192" y="768"/>
                    <a:pt x="192" y="768"/>
                    <a:pt x="192" y="768"/>
                  </a:cubicBezTo>
                  <a:lnTo>
                    <a:pt x="192" y="864"/>
                  </a:lnTo>
                  <a:close/>
                  <a:moveTo>
                    <a:pt x="960" y="96"/>
                  </a:moveTo>
                  <a:cubicBezTo>
                    <a:pt x="960" y="1152"/>
                    <a:pt x="960" y="1152"/>
                    <a:pt x="960" y="1152"/>
                  </a:cubicBezTo>
                  <a:cubicBezTo>
                    <a:pt x="0" y="1152"/>
                    <a:pt x="0" y="1152"/>
                    <a:pt x="0" y="1152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192" y="96"/>
                    <a:pt x="192" y="96"/>
                    <a:pt x="192" y="96"/>
                  </a:cubicBezTo>
                  <a:cubicBezTo>
                    <a:pt x="192" y="43"/>
                    <a:pt x="235" y="0"/>
                    <a:pt x="288" y="0"/>
                  </a:cubicBezTo>
                  <a:cubicBezTo>
                    <a:pt x="672" y="0"/>
                    <a:pt x="672" y="0"/>
                    <a:pt x="672" y="0"/>
                  </a:cubicBezTo>
                  <a:cubicBezTo>
                    <a:pt x="725" y="0"/>
                    <a:pt x="768" y="43"/>
                    <a:pt x="768" y="96"/>
                  </a:cubicBezTo>
                  <a:lnTo>
                    <a:pt x="960" y="96"/>
                  </a:lnTo>
                  <a:close/>
                  <a:moveTo>
                    <a:pt x="436" y="96"/>
                  </a:moveTo>
                  <a:cubicBezTo>
                    <a:pt x="436" y="123"/>
                    <a:pt x="457" y="144"/>
                    <a:pt x="484" y="144"/>
                  </a:cubicBezTo>
                  <a:cubicBezTo>
                    <a:pt x="511" y="144"/>
                    <a:pt x="532" y="123"/>
                    <a:pt x="532" y="96"/>
                  </a:cubicBezTo>
                  <a:cubicBezTo>
                    <a:pt x="532" y="69"/>
                    <a:pt x="511" y="48"/>
                    <a:pt x="484" y="48"/>
                  </a:cubicBezTo>
                  <a:cubicBezTo>
                    <a:pt x="457" y="48"/>
                    <a:pt x="436" y="69"/>
                    <a:pt x="436" y="96"/>
                  </a:cubicBezTo>
                  <a:close/>
                  <a:moveTo>
                    <a:pt x="864" y="192"/>
                  </a:moveTo>
                  <a:cubicBezTo>
                    <a:pt x="768" y="192"/>
                    <a:pt x="768" y="192"/>
                    <a:pt x="768" y="192"/>
                  </a:cubicBezTo>
                  <a:cubicBezTo>
                    <a:pt x="768" y="288"/>
                    <a:pt x="768" y="288"/>
                    <a:pt x="768" y="288"/>
                  </a:cubicBezTo>
                  <a:cubicBezTo>
                    <a:pt x="192" y="288"/>
                    <a:pt x="192" y="288"/>
                    <a:pt x="192" y="288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96" y="192"/>
                    <a:pt x="96" y="192"/>
                    <a:pt x="96" y="192"/>
                  </a:cubicBezTo>
                  <a:cubicBezTo>
                    <a:pt x="96" y="1056"/>
                    <a:pt x="96" y="1056"/>
                    <a:pt x="96" y="1056"/>
                  </a:cubicBezTo>
                  <a:cubicBezTo>
                    <a:pt x="864" y="1056"/>
                    <a:pt x="864" y="1056"/>
                    <a:pt x="864" y="1056"/>
                  </a:cubicBezTo>
                  <a:lnTo>
                    <a:pt x="864" y="1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B6F4A8E-30E9-43B1-99FD-C75CD71F06FC}"/>
                </a:ext>
              </a:extLst>
            </p:cNvPr>
            <p:cNvSpPr/>
            <p:nvPr/>
          </p:nvSpPr>
          <p:spPr>
            <a:xfrm>
              <a:off x="1293881" y="4139418"/>
              <a:ext cx="2018501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sz="1800" dirty="0">
                  <a:solidFill>
                    <a:schemeClr val="bg1"/>
                  </a:solidFill>
                </a:rPr>
                <a:t>Realtime</a:t>
              </a:r>
              <a:br>
                <a:rPr lang="en-GB" sz="1800" dirty="0">
                  <a:solidFill>
                    <a:schemeClr val="bg1"/>
                  </a:solidFill>
                </a:rPr>
              </a:br>
              <a:r>
                <a:rPr lang="en-GB" sz="1800" dirty="0">
                  <a:solidFill>
                    <a:schemeClr val="bg1"/>
                  </a:solidFill>
                </a:rPr>
                <a:t>recommendations</a:t>
              </a: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8F419986-B944-41B8-A127-F25F6D08068E}"/>
              </a:ext>
            </a:extLst>
          </p:cNvPr>
          <p:cNvGrpSpPr/>
          <p:nvPr/>
        </p:nvGrpSpPr>
        <p:grpSpPr>
          <a:xfrm>
            <a:off x="4544786" y="4932977"/>
            <a:ext cx="1787887" cy="1787887"/>
            <a:chOff x="4947350" y="3940567"/>
            <a:chExt cx="1787887" cy="1787887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040A4E75-FD3D-4D14-B9D9-4F59CC282EAE}"/>
                </a:ext>
              </a:extLst>
            </p:cNvPr>
            <p:cNvSpPr/>
            <p:nvPr/>
          </p:nvSpPr>
          <p:spPr>
            <a:xfrm>
              <a:off x="4947350" y="3940567"/>
              <a:ext cx="1787887" cy="1787887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000" dirty="0">
                  <a:solidFill>
                    <a:schemeClr val="tx1"/>
                  </a:solidFill>
                </a:rPr>
                <a:t>Discover</a:t>
              </a:r>
              <a:br>
                <a:rPr lang="en-GB" sz="2000" dirty="0">
                  <a:solidFill>
                    <a:schemeClr val="tx1"/>
                  </a:solidFill>
                </a:rPr>
              </a:br>
              <a:r>
                <a:rPr lang="en-GB" sz="2000" dirty="0">
                  <a:solidFill>
                    <a:schemeClr val="tx1"/>
                  </a:solidFill>
                </a:rPr>
                <a:t>Solutions</a:t>
              </a: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0A828BD6-848E-468A-BF67-6130C2188846}"/>
                </a:ext>
              </a:extLst>
            </p:cNvPr>
            <p:cNvGrpSpPr/>
            <p:nvPr/>
          </p:nvGrpSpPr>
          <p:grpSpPr>
            <a:xfrm>
              <a:off x="5635712" y="5190579"/>
              <a:ext cx="411163" cy="411957"/>
              <a:chOff x="12825440" y="48105692"/>
              <a:chExt cx="822326" cy="823913"/>
            </a:xfrm>
            <a:solidFill>
              <a:schemeClr val="tx1"/>
            </a:solidFill>
          </p:grpSpPr>
          <p:sp>
            <p:nvSpPr>
              <p:cNvPr id="79" name="Rectangle 90">
                <a:extLst>
                  <a:ext uri="{FF2B5EF4-FFF2-40B4-BE49-F238E27FC236}">
                    <a16:creationId xmlns:a16="http://schemas.microsoft.com/office/drawing/2014/main" id="{B1CC27C7-0026-4A55-A9C7-59243CC222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36603" y="48518442"/>
                <a:ext cx="411163" cy="411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91">
                <a:extLst>
                  <a:ext uri="{FF2B5EF4-FFF2-40B4-BE49-F238E27FC236}">
                    <a16:creationId xmlns:a16="http://schemas.microsoft.com/office/drawing/2014/main" id="{40C5125E-CD3C-4DE3-B71B-905707A54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31815" y="48312067"/>
                <a:ext cx="409575" cy="411163"/>
              </a:xfrm>
              <a:custGeom>
                <a:avLst/>
                <a:gdLst>
                  <a:gd name="T0" fmla="*/ 86 w 258"/>
                  <a:gd name="T1" fmla="*/ 259 h 259"/>
                  <a:gd name="T2" fmla="*/ 0 w 258"/>
                  <a:gd name="T3" fmla="*/ 259 h 259"/>
                  <a:gd name="T4" fmla="*/ 0 w 258"/>
                  <a:gd name="T5" fmla="*/ 0 h 259"/>
                  <a:gd name="T6" fmla="*/ 258 w 258"/>
                  <a:gd name="T7" fmla="*/ 0 h 259"/>
                  <a:gd name="T8" fmla="*/ 258 w 258"/>
                  <a:gd name="T9" fmla="*/ 86 h 259"/>
                  <a:gd name="T10" fmla="*/ 86 w 258"/>
                  <a:gd name="T11" fmla="*/ 86 h 259"/>
                  <a:gd name="T12" fmla="*/ 86 w 258"/>
                  <a:gd name="T13" fmla="*/ 259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8" h="259">
                    <a:moveTo>
                      <a:pt x="86" y="259"/>
                    </a:moveTo>
                    <a:lnTo>
                      <a:pt x="0" y="259"/>
                    </a:lnTo>
                    <a:lnTo>
                      <a:pt x="0" y="0"/>
                    </a:lnTo>
                    <a:lnTo>
                      <a:pt x="258" y="0"/>
                    </a:lnTo>
                    <a:lnTo>
                      <a:pt x="258" y="86"/>
                    </a:lnTo>
                    <a:lnTo>
                      <a:pt x="86" y="86"/>
                    </a:lnTo>
                    <a:lnTo>
                      <a:pt x="86" y="2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92">
                <a:extLst>
                  <a:ext uri="{FF2B5EF4-FFF2-40B4-BE49-F238E27FC236}">
                    <a16:creationId xmlns:a16="http://schemas.microsoft.com/office/drawing/2014/main" id="{633EFE14-604A-49F6-AEB4-D320FF681E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25440" y="48105692"/>
                <a:ext cx="411163" cy="412750"/>
              </a:xfrm>
              <a:custGeom>
                <a:avLst/>
                <a:gdLst>
                  <a:gd name="T0" fmla="*/ 86 w 259"/>
                  <a:gd name="T1" fmla="*/ 260 h 260"/>
                  <a:gd name="T2" fmla="*/ 0 w 259"/>
                  <a:gd name="T3" fmla="*/ 260 h 260"/>
                  <a:gd name="T4" fmla="*/ 0 w 259"/>
                  <a:gd name="T5" fmla="*/ 0 h 260"/>
                  <a:gd name="T6" fmla="*/ 259 w 259"/>
                  <a:gd name="T7" fmla="*/ 0 h 260"/>
                  <a:gd name="T8" fmla="*/ 259 w 259"/>
                  <a:gd name="T9" fmla="*/ 87 h 260"/>
                  <a:gd name="T10" fmla="*/ 86 w 259"/>
                  <a:gd name="T11" fmla="*/ 87 h 260"/>
                  <a:gd name="T12" fmla="*/ 86 w 259"/>
                  <a:gd name="T13" fmla="*/ 26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9" h="260">
                    <a:moveTo>
                      <a:pt x="86" y="260"/>
                    </a:moveTo>
                    <a:lnTo>
                      <a:pt x="0" y="260"/>
                    </a:lnTo>
                    <a:lnTo>
                      <a:pt x="0" y="0"/>
                    </a:lnTo>
                    <a:lnTo>
                      <a:pt x="259" y="0"/>
                    </a:lnTo>
                    <a:lnTo>
                      <a:pt x="259" y="87"/>
                    </a:lnTo>
                    <a:lnTo>
                      <a:pt x="86" y="87"/>
                    </a:lnTo>
                    <a:lnTo>
                      <a:pt x="86" y="2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DFA5B3B-AF56-42D2-B9AB-72E782944115}"/>
              </a:ext>
            </a:extLst>
          </p:cNvPr>
          <p:cNvCxnSpPr>
            <a:cxnSpLocks/>
          </p:cNvCxnSpPr>
          <p:nvPr/>
        </p:nvCxnSpPr>
        <p:spPr>
          <a:xfrm flipH="1">
            <a:off x="4899336" y="3537830"/>
            <a:ext cx="471440" cy="1187601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5" name="Oval 94">
            <a:extLst>
              <a:ext uri="{FF2B5EF4-FFF2-40B4-BE49-F238E27FC236}">
                <a16:creationId xmlns:a16="http://schemas.microsoft.com/office/drawing/2014/main" id="{AA55A8DD-2ADB-4073-9678-8764AFB26792}"/>
              </a:ext>
            </a:extLst>
          </p:cNvPr>
          <p:cNvSpPr/>
          <p:nvPr/>
        </p:nvSpPr>
        <p:spPr>
          <a:xfrm>
            <a:off x="4686141" y="4452495"/>
            <a:ext cx="485571" cy="4855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315CCF83-831C-494C-9F29-836662795E4C}"/>
              </a:ext>
            </a:extLst>
          </p:cNvPr>
          <p:cNvGrpSpPr/>
          <p:nvPr/>
        </p:nvGrpSpPr>
        <p:grpSpPr>
          <a:xfrm>
            <a:off x="4585322" y="2675590"/>
            <a:ext cx="1720870" cy="1720870"/>
            <a:chOff x="2996017" y="2057399"/>
            <a:chExt cx="1720870" cy="1720870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97C77369-F01E-4283-895E-24336C1FF4C0}"/>
                </a:ext>
              </a:extLst>
            </p:cNvPr>
            <p:cNvSpPr/>
            <p:nvPr/>
          </p:nvSpPr>
          <p:spPr>
            <a:xfrm>
              <a:off x="2996017" y="2057399"/>
              <a:ext cx="1720870" cy="172087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000" b="1" dirty="0"/>
                <a:t>Common “ideas”</a:t>
              </a:r>
            </a:p>
          </p:txBody>
        </p:sp>
        <p:sp>
          <p:nvSpPr>
            <p:cNvPr id="11" name="Freeform 121">
              <a:extLst>
                <a:ext uri="{FF2B5EF4-FFF2-40B4-BE49-F238E27FC236}">
                  <a16:creationId xmlns:a16="http://schemas.microsoft.com/office/drawing/2014/main" id="{43555D93-598F-4279-9ACF-04470A0932B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585477" y="3290354"/>
              <a:ext cx="541950" cy="316668"/>
            </a:xfrm>
            <a:custGeom>
              <a:avLst/>
              <a:gdLst>
                <a:gd name="T0" fmla="*/ 576 w 1152"/>
                <a:gd name="T1" fmla="*/ 571 h 672"/>
                <a:gd name="T2" fmla="*/ 336 w 1152"/>
                <a:gd name="T3" fmla="*/ 672 h 672"/>
                <a:gd name="T4" fmla="*/ 0 w 1152"/>
                <a:gd name="T5" fmla="*/ 336 h 672"/>
                <a:gd name="T6" fmla="*/ 336 w 1152"/>
                <a:gd name="T7" fmla="*/ 0 h 672"/>
                <a:gd name="T8" fmla="*/ 576 w 1152"/>
                <a:gd name="T9" fmla="*/ 101 h 672"/>
                <a:gd name="T10" fmla="*/ 480 w 1152"/>
                <a:gd name="T11" fmla="*/ 336 h 672"/>
                <a:gd name="T12" fmla="*/ 576 w 1152"/>
                <a:gd name="T13" fmla="*/ 571 h 672"/>
                <a:gd name="T14" fmla="*/ 816 w 1152"/>
                <a:gd name="T15" fmla="*/ 0 h 672"/>
                <a:gd name="T16" fmla="*/ 576 w 1152"/>
                <a:gd name="T17" fmla="*/ 101 h 672"/>
                <a:gd name="T18" fmla="*/ 672 w 1152"/>
                <a:gd name="T19" fmla="*/ 336 h 672"/>
                <a:gd name="T20" fmla="*/ 576 w 1152"/>
                <a:gd name="T21" fmla="*/ 571 h 672"/>
                <a:gd name="T22" fmla="*/ 816 w 1152"/>
                <a:gd name="T23" fmla="*/ 672 h 672"/>
                <a:gd name="T24" fmla="*/ 1152 w 1152"/>
                <a:gd name="T25" fmla="*/ 336 h 672"/>
                <a:gd name="T26" fmla="*/ 816 w 1152"/>
                <a:gd name="T27" fmla="*/ 0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2" h="672">
                  <a:moveTo>
                    <a:pt x="576" y="571"/>
                  </a:moveTo>
                  <a:cubicBezTo>
                    <a:pt x="515" y="633"/>
                    <a:pt x="430" y="672"/>
                    <a:pt x="336" y="672"/>
                  </a:cubicBezTo>
                  <a:cubicBezTo>
                    <a:pt x="150" y="672"/>
                    <a:pt x="0" y="522"/>
                    <a:pt x="0" y="336"/>
                  </a:cubicBezTo>
                  <a:cubicBezTo>
                    <a:pt x="0" y="150"/>
                    <a:pt x="150" y="0"/>
                    <a:pt x="336" y="0"/>
                  </a:cubicBezTo>
                  <a:cubicBezTo>
                    <a:pt x="430" y="0"/>
                    <a:pt x="515" y="39"/>
                    <a:pt x="576" y="101"/>
                  </a:cubicBezTo>
                  <a:cubicBezTo>
                    <a:pt x="517" y="162"/>
                    <a:pt x="480" y="244"/>
                    <a:pt x="480" y="336"/>
                  </a:cubicBezTo>
                  <a:cubicBezTo>
                    <a:pt x="480" y="428"/>
                    <a:pt x="517" y="510"/>
                    <a:pt x="576" y="571"/>
                  </a:cubicBezTo>
                  <a:close/>
                  <a:moveTo>
                    <a:pt x="816" y="0"/>
                  </a:moveTo>
                  <a:cubicBezTo>
                    <a:pt x="722" y="0"/>
                    <a:pt x="637" y="39"/>
                    <a:pt x="576" y="101"/>
                  </a:cubicBezTo>
                  <a:cubicBezTo>
                    <a:pt x="635" y="162"/>
                    <a:pt x="672" y="244"/>
                    <a:pt x="672" y="336"/>
                  </a:cubicBezTo>
                  <a:cubicBezTo>
                    <a:pt x="672" y="428"/>
                    <a:pt x="635" y="510"/>
                    <a:pt x="576" y="571"/>
                  </a:cubicBezTo>
                  <a:cubicBezTo>
                    <a:pt x="637" y="633"/>
                    <a:pt x="722" y="672"/>
                    <a:pt x="816" y="672"/>
                  </a:cubicBezTo>
                  <a:cubicBezTo>
                    <a:pt x="1002" y="672"/>
                    <a:pt x="1152" y="522"/>
                    <a:pt x="1152" y="336"/>
                  </a:cubicBezTo>
                  <a:cubicBezTo>
                    <a:pt x="1152" y="150"/>
                    <a:pt x="1002" y="0"/>
                    <a:pt x="81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D28D6F69-9A4C-46AA-8FAE-2B6C1BC9B82F}"/>
              </a:ext>
            </a:extLst>
          </p:cNvPr>
          <p:cNvCxnSpPr>
            <a:cxnSpLocks/>
            <a:stCxn id="14" idx="2"/>
            <a:endCxn id="5" idx="6"/>
          </p:cNvCxnSpPr>
          <p:nvPr/>
        </p:nvCxnSpPr>
        <p:spPr>
          <a:xfrm flipH="1" flipV="1">
            <a:off x="7080987" y="4449997"/>
            <a:ext cx="636265" cy="12586"/>
          </a:xfrm>
          <a:prstGeom prst="line">
            <a:avLst/>
          </a:prstGeom>
          <a:ln w="76200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92DC0AF6-F394-4A6E-BEB9-EFEDC45CCBB8}"/>
              </a:ext>
            </a:extLst>
          </p:cNvPr>
          <p:cNvCxnSpPr>
            <a:cxnSpLocks/>
          </p:cNvCxnSpPr>
          <p:nvPr/>
        </p:nvCxnSpPr>
        <p:spPr>
          <a:xfrm flipH="1" flipV="1">
            <a:off x="9949896" y="2887648"/>
            <a:ext cx="2214252" cy="512281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2269AAAA-5AE0-4630-AA8C-78E06BF371AF}"/>
              </a:ext>
            </a:extLst>
          </p:cNvPr>
          <p:cNvCxnSpPr>
            <a:cxnSpLocks/>
          </p:cNvCxnSpPr>
          <p:nvPr/>
        </p:nvCxnSpPr>
        <p:spPr>
          <a:xfrm flipH="1" flipV="1">
            <a:off x="9974982" y="2900657"/>
            <a:ext cx="1856341" cy="2962219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24FED255-0E54-4C24-88F9-D10DD5D43D0F}"/>
              </a:ext>
            </a:extLst>
          </p:cNvPr>
          <p:cNvCxnSpPr>
            <a:cxnSpLocks/>
          </p:cNvCxnSpPr>
          <p:nvPr/>
        </p:nvCxnSpPr>
        <p:spPr>
          <a:xfrm flipV="1">
            <a:off x="9235815" y="2882876"/>
            <a:ext cx="637036" cy="2673898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BE059803-1EF9-4422-9A8F-879AE53ED664}"/>
              </a:ext>
            </a:extLst>
          </p:cNvPr>
          <p:cNvCxnSpPr>
            <a:cxnSpLocks/>
          </p:cNvCxnSpPr>
          <p:nvPr/>
        </p:nvCxnSpPr>
        <p:spPr>
          <a:xfrm flipV="1">
            <a:off x="9327209" y="3410673"/>
            <a:ext cx="2836939" cy="2236062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3CFE02B2-2511-41EB-B858-0C7174657761}"/>
              </a:ext>
            </a:extLst>
          </p:cNvPr>
          <p:cNvCxnSpPr>
            <a:cxnSpLocks/>
          </p:cNvCxnSpPr>
          <p:nvPr/>
        </p:nvCxnSpPr>
        <p:spPr>
          <a:xfrm flipV="1">
            <a:off x="11861358" y="3471434"/>
            <a:ext cx="273316" cy="2389925"/>
          </a:xfrm>
          <a:prstGeom prst="line">
            <a:avLst/>
          </a:prstGeom>
          <a:ln w="571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F5C0142A-066C-4BE7-8A4B-86E05FDC5CC1}"/>
              </a:ext>
            </a:extLst>
          </p:cNvPr>
          <p:cNvCxnSpPr>
            <a:cxnSpLocks/>
          </p:cNvCxnSpPr>
          <p:nvPr/>
        </p:nvCxnSpPr>
        <p:spPr>
          <a:xfrm flipH="1">
            <a:off x="8452539" y="2845250"/>
            <a:ext cx="1537528" cy="1443620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D9AE732E-95FA-4BA7-8EF1-31BB88A71F9A}"/>
              </a:ext>
            </a:extLst>
          </p:cNvPr>
          <p:cNvCxnSpPr>
            <a:cxnSpLocks/>
          </p:cNvCxnSpPr>
          <p:nvPr/>
        </p:nvCxnSpPr>
        <p:spPr>
          <a:xfrm flipH="1" flipV="1">
            <a:off x="8511834" y="4288870"/>
            <a:ext cx="752703" cy="1383107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88E8CCF9-8FF1-4F20-A487-F003539EE529}"/>
              </a:ext>
            </a:extLst>
          </p:cNvPr>
          <p:cNvCxnSpPr>
            <a:cxnSpLocks/>
          </p:cNvCxnSpPr>
          <p:nvPr/>
        </p:nvCxnSpPr>
        <p:spPr>
          <a:xfrm flipV="1">
            <a:off x="9244544" y="4219808"/>
            <a:ext cx="645695" cy="1408022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DA889952-B118-485B-B4E7-1E2CAD8EA3C4}"/>
              </a:ext>
            </a:extLst>
          </p:cNvPr>
          <p:cNvCxnSpPr>
            <a:cxnSpLocks/>
          </p:cNvCxnSpPr>
          <p:nvPr/>
        </p:nvCxnSpPr>
        <p:spPr>
          <a:xfrm flipH="1">
            <a:off x="8527416" y="4237639"/>
            <a:ext cx="1373386" cy="28295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5342553E-727D-45D5-9AE2-5130062D7B7B}"/>
              </a:ext>
            </a:extLst>
          </p:cNvPr>
          <p:cNvCxnSpPr>
            <a:cxnSpLocks/>
          </p:cNvCxnSpPr>
          <p:nvPr/>
        </p:nvCxnSpPr>
        <p:spPr>
          <a:xfrm flipH="1" flipV="1">
            <a:off x="9890239" y="4237639"/>
            <a:ext cx="745851" cy="816146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E8D55452-01C1-4256-8D79-62C7A44BEC66}"/>
              </a:ext>
            </a:extLst>
          </p:cNvPr>
          <p:cNvCxnSpPr>
            <a:cxnSpLocks/>
          </p:cNvCxnSpPr>
          <p:nvPr/>
        </p:nvCxnSpPr>
        <p:spPr>
          <a:xfrm flipV="1">
            <a:off x="10659310" y="2176551"/>
            <a:ext cx="624554" cy="2870115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3F06B50-EAEA-4868-8A9B-0527A7CCF4C9}"/>
              </a:ext>
            </a:extLst>
          </p:cNvPr>
          <p:cNvCxnSpPr>
            <a:cxnSpLocks/>
          </p:cNvCxnSpPr>
          <p:nvPr/>
        </p:nvCxnSpPr>
        <p:spPr>
          <a:xfrm>
            <a:off x="10668377" y="5053786"/>
            <a:ext cx="1250610" cy="832815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FE826079-37C2-4908-BE08-61B2CD287EF0}"/>
              </a:ext>
            </a:extLst>
          </p:cNvPr>
          <p:cNvCxnSpPr>
            <a:cxnSpLocks/>
          </p:cNvCxnSpPr>
          <p:nvPr/>
        </p:nvCxnSpPr>
        <p:spPr>
          <a:xfrm>
            <a:off x="12164148" y="3385431"/>
            <a:ext cx="776823" cy="1397076"/>
          </a:xfrm>
          <a:prstGeom prst="line">
            <a:avLst/>
          </a:prstGeom>
          <a:ln w="1905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0" name="Oval 89">
            <a:extLst>
              <a:ext uri="{FF2B5EF4-FFF2-40B4-BE49-F238E27FC236}">
                <a16:creationId xmlns:a16="http://schemas.microsoft.com/office/drawing/2014/main" id="{E73D35AE-A9B8-4BC1-B72A-9305EC38EF87}"/>
              </a:ext>
            </a:extLst>
          </p:cNvPr>
          <p:cNvSpPr/>
          <p:nvPr/>
        </p:nvSpPr>
        <p:spPr>
          <a:xfrm>
            <a:off x="8254772" y="4023148"/>
            <a:ext cx="485571" cy="4855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11DA233F-9B64-45FF-A18F-4D5AA811517D}"/>
              </a:ext>
            </a:extLst>
          </p:cNvPr>
          <p:cNvSpPr/>
          <p:nvPr/>
        </p:nvSpPr>
        <p:spPr>
          <a:xfrm>
            <a:off x="10419070" y="4803881"/>
            <a:ext cx="485571" cy="48557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616CA12E-D429-4B7A-943B-7C832588A5D1}"/>
              </a:ext>
            </a:extLst>
          </p:cNvPr>
          <p:cNvSpPr/>
          <p:nvPr/>
        </p:nvSpPr>
        <p:spPr>
          <a:xfrm>
            <a:off x="12701669" y="4508719"/>
            <a:ext cx="485571" cy="4855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6A9E31D2-FBE4-4C17-9E48-A9F4C73D2B93}"/>
              </a:ext>
            </a:extLst>
          </p:cNvPr>
          <p:cNvSpPr/>
          <p:nvPr/>
        </p:nvSpPr>
        <p:spPr>
          <a:xfrm>
            <a:off x="11044998" y="1933766"/>
            <a:ext cx="485571" cy="48557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34A1030C-0CB4-4262-8CC7-F16AB7EA5A72}"/>
              </a:ext>
            </a:extLst>
          </p:cNvPr>
          <p:cNvSpPr/>
          <p:nvPr/>
        </p:nvSpPr>
        <p:spPr>
          <a:xfrm>
            <a:off x="9663670" y="3977023"/>
            <a:ext cx="485571" cy="4855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8A4ED09B-2E25-41A9-9457-D462A6438A5F}"/>
              </a:ext>
            </a:extLst>
          </p:cNvPr>
          <p:cNvGrpSpPr/>
          <p:nvPr/>
        </p:nvGrpSpPr>
        <p:grpSpPr>
          <a:xfrm>
            <a:off x="8355160" y="4670208"/>
            <a:ext cx="1881427" cy="1881427"/>
            <a:chOff x="8282480" y="4386540"/>
            <a:chExt cx="1881427" cy="1881427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CDC3C33-F711-4067-8060-AB2847700AA3}"/>
                </a:ext>
              </a:extLst>
            </p:cNvPr>
            <p:cNvSpPr/>
            <p:nvPr/>
          </p:nvSpPr>
          <p:spPr>
            <a:xfrm>
              <a:off x="8282480" y="4386540"/>
              <a:ext cx="1881427" cy="1881427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400" dirty="0"/>
                <a:t>Future Skills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1F8DA4C1-70DE-41D6-A682-BA81C174112C}"/>
                </a:ext>
              </a:extLst>
            </p:cNvPr>
            <p:cNvGrpSpPr/>
            <p:nvPr/>
          </p:nvGrpSpPr>
          <p:grpSpPr>
            <a:xfrm>
              <a:off x="9114058" y="5772769"/>
              <a:ext cx="218270" cy="373868"/>
              <a:chOff x="3833818" y="37354842"/>
              <a:chExt cx="481013" cy="823912"/>
            </a:xfrm>
            <a:solidFill>
              <a:schemeClr val="bg1"/>
            </a:solidFill>
          </p:grpSpPr>
          <p:sp>
            <p:nvSpPr>
              <p:cNvPr id="25" name="Oval 87">
                <a:extLst>
                  <a:ext uri="{FF2B5EF4-FFF2-40B4-BE49-F238E27FC236}">
                    <a16:creationId xmlns:a16="http://schemas.microsoft.com/office/drawing/2014/main" id="{3D82029B-621B-4050-ACC5-DE6AE929E5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05268" y="37492954"/>
                <a:ext cx="138113" cy="1365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88">
                <a:extLst>
                  <a:ext uri="{FF2B5EF4-FFF2-40B4-BE49-F238E27FC236}">
                    <a16:creationId xmlns:a16="http://schemas.microsoft.com/office/drawing/2014/main" id="{700AC474-8849-45E4-9477-BC8919AE22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33818" y="37354842"/>
                <a:ext cx="481013" cy="823912"/>
              </a:xfrm>
              <a:custGeom>
                <a:avLst/>
                <a:gdLst>
                  <a:gd name="T0" fmla="*/ 633 w 672"/>
                  <a:gd name="T1" fmla="*/ 494 h 1152"/>
                  <a:gd name="T2" fmla="*/ 672 w 672"/>
                  <a:gd name="T3" fmla="*/ 336 h 1152"/>
                  <a:gd name="T4" fmla="*/ 336 w 672"/>
                  <a:gd name="T5" fmla="*/ 0 h 1152"/>
                  <a:gd name="T6" fmla="*/ 0 w 672"/>
                  <a:gd name="T7" fmla="*/ 336 h 1152"/>
                  <a:gd name="T8" fmla="*/ 39 w 672"/>
                  <a:gd name="T9" fmla="*/ 494 h 1152"/>
                  <a:gd name="T10" fmla="*/ 39 w 672"/>
                  <a:gd name="T11" fmla="*/ 494 h 1152"/>
                  <a:gd name="T12" fmla="*/ 336 w 672"/>
                  <a:gd name="T13" fmla="*/ 1152 h 1152"/>
                  <a:gd name="T14" fmla="*/ 633 w 672"/>
                  <a:gd name="T15" fmla="*/ 494 h 1152"/>
                  <a:gd name="T16" fmla="*/ 336 w 672"/>
                  <a:gd name="T17" fmla="*/ 96 h 1152"/>
                  <a:gd name="T18" fmla="*/ 576 w 672"/>
                  <a:gd name="T19" fmla="*/ 336 h 1152"/>
                  <a:gd name="T20" fmla="*/ 512 w 672"/>
                  <a:gd name="T21" fmla="*/ 499 h 1152"/>
                  <a:gd name="T22" fmla="*/ 336 w 672"/>
                  <a:gd name="T23" fmla="*/ 384 h 1152"/>
                  <a:gd name="T24" fmla="*/ 160 w 672"/>
                  <a:gd name="T25" fmla="*/ 499 h 1152"/>
                  <a:gd name="T26" fmla="*/ 96 w 672"/>
                  <a:gd name="T27" fmla="*/ 336 h 1152"/>
                  <a:gd name="T28" fmla="*/ 336 w 672"/>
                  <a:gd name="T29" fmla="*/ 96 h 1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72" h="1152">
                    <a:moveTo>
                      <a:pt x="633" y="494"/>
                    </a:moveTo>
                    <a:cubicBezTo>
                      <a:pt x="658" y="447"/>
                      <a:pt x="672" y="393"/>
                      <a:pt x="672" y="336"/>
                    </a:cubicBezTo>
                    <a:cubicBezTo>
                      <a:pt x="672" y="150"/>
                      <a:pt x="522" y="0"/>
                      <a:pt x="336" y="0"/>
                    </a:cubicBezTo>
                    <a:cubicBezTo>
                      <a:pt x="150" y="0"/>
                      <a:pt x="0" y="150"/>
                      <a:pt x="0" y="336"/>
                    </a:cubicBezTo>
                    <a:cubicBezTo>
                      <a:pt x="0" y="393"/>
                      <a:pt x="14" y="447"/>
                      <a:pt x="39" y="494"/>
                    </a:cubicBezTo>
                    <a:cubicBezTo>
                      <a:pt x="39" y="494"/>
                      <a:pt x="39" y="494"/>
                      <a:pt x="39" y="494"/>
                    </a:cubicBezTo>
                    <a:cubicBezTo>
                      <a:pt x="336" y="1152"/>
                      <a:pt x="336" y="1152"/>
                      <a:pt x="336" y="1152"/>
                    </a:cubicBezTo>
                    <a:cubicBezTo>
                      <a:pt x="633" y="494"/>
                      <a:pt x="633" y="494"/>
                      <a:pt x="633" y="494"/>
                    </a:cubicBezTo>
                    <a:close/>
                    <a:moveTo>
                      <a:pt x="336" y="96"/>
                    </a:moveTo>
                    <a:cubicBezTo>
                      <a:pt x="469" y="96"/>
                      <a:pt x="576" y="203"/>
                      <a:pt x="576" y="336"/>
                    </a:cubicBezTo>
                    <a:cubicBezTo>
                      <a:pt x="576" y="399"/>
                      <a:pt x="552" y="456"/>
                      <a:pt x="512" y="499"/>
                    </a:cubicBezTo>
                    <a:cubicBezTo>
                      <a:pt x="482" y="431"/>
                      <a:pt x="415" y="384"/>
                      <a:pt x="336" y="384"/>
                    </a:cubicBezTo>
                    <a:cubicBezTo>
                      <a:pt x="257" y="384"/>
                      <a:pt x="190" y="431"/>
                      <a:pt x="160" y="499"/>
                    </a:cubicBezTo>
                    <a:cubicBezTo>
                      <a:pt x="120" y="456"/>
                      <a:pt x="96" y="399"/>
                      <a:pt x="96" y="336"/>
                    </a:cubicBezTo>
                    <a:cubicBezTo>
                      <a:pt x="96" y="203"/>
                      <a:pt x="203" y="96"/>
                      <a:pt x="336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68D2A288-5D09-4FBC-B297-9258FB9FCEA9}"/>
              </a:ext>
            </a:extLst>
          </p:cNvPr>
          <p:cNvGrpSpPr/>
          <p:nvPr/>
        </p:nvGrpSpPr>
        <p:grpSpPr>
          <a:xfrm>
            <a:off x="10967025" y="4889345"/>
            <a:ext cx="1881427" cy="1881427"/>
            <a:chOff x="10935042" y="4714248"/>
            <a:chExt cx="1881427" cy="1881427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6E8F7EEB-53EF-41DA-A15F-3C40BC931C26}"/>
                </a:ext>
              </a:extLst>
            </p:cNvPr>
            <p:cNvSpPr/>
            <p:nvPr/>
          </p:nvSpPr>
          <p:spPr>
            <a:xfrm>
              <a:off x="10935042" y="4714248"/>
              <a:ext cx="1881427" cy="1881427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000" dirty="0"/>
                <a:t>New</a:t>
              </a:r>
              <a:br>
                <a:rPr lang="en-GB" sz="2000" dirty="0"/>
              </a:br>
              <a:r>
                <a:rPr lang="en-GB" sz="2000" dirty="0"/>
                <a:t>Partner</a:t>
              </a:r>
              <a:br>
                <a:rPr lang="en-GB" sz="2000" dirty="0"/>
              </a:br>
              <a:r>
                <a:rPr lang="en-GB" sz="2000" dirty="0"/>
                <a:t>Insights</a:t>
              </a:r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80710B5D-70E1-455A-9B84-44DE4E89A68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598015" y="6109228"/>
              <a:ext cx="555480" cy="370999"/>
            </a:xfrm>
            <a:custGeom>
              <a:avLst/>
              <a:gdLst>
                <a:gd name="T0" fmla="*/ 1056 w 1152"/>
                <a:gd name="T1" fmla="*/ 144 h 768"/>
                <a:gd name="T2" fmla="*/ 912 w 1152"/>
                <a:gd name="T3" fmla="*/ 288 h 768"/>
                <a:gd name="T4" fmla="*/ 768 w 1152"/>
                <a:gd name="T5" fmla="*/ 144 h 768"/>
                <a:gd name="T6" fmla="*/ 912 w 1152"/>
                <a:gd name="T7" fmla="*/ 0 h 768"/>
                <a:gd name="T8" fmla="*/ 1056 w 1152"/>
                <a:gd name="T9" fmla="*/ 144 h 768"/>
                <a:gd name="T10" fmla="*/ 240 w 1152"/>
                <a:gd name="T11" fmla="*/ 0 h 768"/>
                <a:gd name="T12" fmla="*/ 96 w 1152"/>
                <a:gd name="T13" fmla="*/ 144 h 768"/>
                <a:gd name="T14" fmla="*/ 240 w 1152"/>
                <a:gd name="T15" fmla="*/ 288 h 768"/>
                <a:gd name="T16" fmla="*/ 384 w 1152"/>
                <a:gd name="T17" fmla="*/ 144 h 768"/>
                <a:gd name="T18" fmla="*/ 240 w 1152"/>
                <a:gd name="T19" fmla="*/ 0 h 768"/>
                <a:gd name="T20" fmla="*/ 912 w 1152"/>
                <a:gd name="T21" fmla="*/ 288 h 768"/>
                <a:gd name="T22" fmla="*/ 240 w 1152"/>
                <a:gd name="T23" fmla="*/ 288 h 768"/>
                <a:gd name="T24" fmla="*/ 0 w 1152"/>
                <a:gd name="T25" fmla="*/ 528 h 768"/>
                <a:gd name="T26" fmla="*/ 0 w 1152"/>
                <a:gd name="T27" fmla="*/ 768 h 768"/>
                <a:gd name="T28" fmla="*/ 480 w 1152"/>
                <a:gd name="T29" fmla="*/ 768 h 768"/>
                <a:gd name="T30" fmla="*/ 480 w 1152"/>
                <a:gd name="T31" fmla="*/ 528 h 768"/>
                <a:gd name="T32" fmla="*/ 460 w 1152"/>
                <a:gd name="T33" fmla="*/ 432 h 768"/>
                <a:gd name="T34" fmla="*/ 692 w 1152"/>
                <a:gd name="T35" fmla="*/ 432 h 768"/>
                <a:gd name="T36" fmla="*/ 672 w 1152"/>
                <a:gd name="T37" fmla="*/ 528 h 768"/>
                <a:gd name="T38" fmla="*/ 672 w 1152"/>
                <a:gd name="T39" fmla="*/ 768 h 768"/>
                <a:gd name="T40" fmla="*/ 1152 w 1152"/>
                <a:gd name="T41" fmla="*/ 768 h 768"/>
                <a:gd name="T42" fmla="*/ 1152 w 1152"/>
                <a:gd name="T43" fmla="*/ 528 h 768"/>
                <a:gd name="T44" fmla="*/ 912 w 1152"/>
                <a:gd name="T45" fmla="*/ 28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2" h="768">
                  <a:moveTo>
                    <a:pt x="1056" y="144"/>
                  </a:moveTo>
                  <a:cubicBezTo>
                    <a:pt x="1056" y="224"/>
                    <a:pt x="992" y="288"/>
                    <a:pt x="912" y="288"/>
                  </a:cubicBezTo>
                  <a:cubicBezTo>
                    <a:pt x="832" y="288"/>
                    <a:pt x="768" y="224"/>
                    <a:pt x="768" y="144"/>
                  </a:cubicBezTo>
                  <a:cubicBezTo>
                    <a:pt x="768" y="64"/>
                    <a:pt x="832" y="0"/>
                    <a:pt x="912" y="0"/>
                  </a:cubicBezTo>
                  <a:cubicBezTo>
                    <a:pt x="992" y="0"/>
                    <a:pt x="1056" y="64"/>
                    <a:pt x="1056" y="144"/>
                  </a:cubicBezTo>
                  <a:close/>
                  <a:moveTo>
                    <a:pt x="240" y="0"/>
                  </a:moveTo>
                  <a:cubicBezTo>
                    <a:pt x="160" y="0"/>
                    <a:pt x="96" y="64"/>
                    <a:pt x="96" y="144"/>
                  </a:cubicBezTo>
                  <a:cubicBezTo>
                    <a:pt x="96" y="224"/>
                    <a:pt x="160" y="288"/>
                    <a:pt x="240" y="288"/>
                  </a:cubicBezTo>
                  <a:cubicBezTo>
                    <a:pt x="320" y="288"/>
                    <a:pt x="384" y="224"/>
                    <a:pt x="384" y="144"/>
                  </a:cubicBezTo>
                  <a:cubicBezTo>
                    <a:pt x="384" y="64"/>
                    <a:pt x="320" y="0"/>
                    <a:pt x="240" y="0"/>
                  </a:cubicBezTo>
                  <a:close/>
                  <a:moveTo>
                    <a:pt x="912" y="288"/>
                  </a:moveTo>
                  <a:cubicBezTo>
                    <a:pt x="240" y="288"/>
                    <a:pt x="240" y="288"/>
                    <a:pt x="240" y="288"/>
                  </a:cubicBezTo>
                  <a:cubicBezTo>
                    <a:pt x="107" y="288"/>
                    <a:pt x="0" y="395"/>
                    <a:pt x="0" y="528"/>
                  </a:cubicBezTo>
                  <a:cubicBezTo>
                    <a:pt x="0" y="768"/>
                    <a:pt x="0" y="768"/>
                    <a:pt x="0" y="768"/>
                  </a:cubicBezTo>
                  <a:cubicBezTo>
                    <a:pt x="480" y="768"/>
                    <a:pt x="480" y="768"/>
                    <a:pt x="480" y="768"/>
                  </a:cubicBezTo>
                  <a:cubicBezTo>
                    <a:pt x="480" y="528"/>
                    <a:pt x="480" y="528"/>
                    <a:pt x="480" y="528"/>
                  </a:cubicBezTo>
                  <a:cubicBezTo>
                    <a:pt x="480" y="494"/>
                    <a:pt x="473" y="461"/>
                    <a:pt x="460" y="432"/>
                  </a:cubicBezTo>
                  <a:cubicBezTo>
                    <a:pt x="692" y="432"/>
                    <a:pt x="692" y="432"/>
                    <a:pt x="692" y="432"/>
                  </a:cubicBezTo>
                  <a:cubicBezTo>
                    <a:pt x="679" y="461"/>
                    <a:pt x="672" y="494"/>
                    <a:pt x="672" y="528"/>
                  </a:cubicBezTo>
                  <a:cubicBezTo>
                    <a:pt x="672" y="768"/>
                    <a:pt x="672" y="768"/>
                    <a:pt x="672" y="768"/>
                  </a:cubicBezTo>
                  <a:cubicBezTo>
                    <a:pt x="1152" y="768"/>
                    <a:pt x="1152" y="768"/>
                    <a:pt x="1152" y="768"/>
                  </a:cubicBezTo>
                  <a:cubicBezTo>
                    <a:pt x="1152" y="528"/>
                    <a:pt x="1152" y="528"/>
                    <a:pt x="1152" y="528"/>
                  </a:cubicBezTo>
                  <a:cubicBezTo>
                    <a:pt x="1152" y="395"/>
                    <a:pt x="1045" y="288"/>
                    <a:pt x="912" y="28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242DF178-5A1A-46C8-AAEA-8BB14359019D}"/>
              </a:ext>
            </a:extLst>
          </p:cNvPr>
          <p:cNvGrpSpPr/>
          <p:nvPr/>
        </p:nvGrpSpPr>
        <p:grpSpPr>
          <a:xfrm>
            <a:off x="11082108" y="2347363"/>
            <a:ext cx="2105132" cy="2105132"/>
            <a:chOff x="10581817" y="1891792"/>
            <a:chExt cx="2105132" cy="2105132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2B45EE75-EDB9-4B68-A7D1-5DCA9CDB467F}"/>
                </a:ext>
              </a:extLst>
            </p:cNvPr>
            <p:cNvSpPr/>
            <p:nvPr/>
          </p:nvSpPr>
          <p:spPr>
            <a:xfrm>
              <a:off x="10581817" y="1891792"/>
              <a:ext cx="2105132" cy="210513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800" b="1" dirty="0">
                  <a:solidFill>
                    <a:schemeClr val="tx1"/>
                  </a:solidFill>
                </a:rPr>
                <a:t>NextGen Supply and Demand</a:t>
              </a: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EAB1D31D-5F28-4218-A529-DB474DF9F5B0}"/>
                </a:ext>
              </a:extLst>
            </p:cNvPr>
            <p:cNvGrpSpPr/>
            <p:nvPr/>
          </p:nvGrpSpPr>
          <p:grpSpPr>
            <a:xfrm>
              <a:off x="11429198" y="3425677"/>
              <a:ext cx="410370" cy="411162"/>
              <a:chOff x="9857502" y="48105692"/>
              <a:chExt cx="822325" cy="823912"/>
            </a:xfrm>
            <a:solidFill>
              <a:schemeClr val="tx1"/>
            </a:solidFill>
          </p:grpSpPr>
          <p:sp>
            <p:nvSpPr>
              <p:cNvPr id="64" name="Freeform 80">
                <a:extLst>
                  <a:ext uri="{FF2B5EF4-FFF2-40B4-BE49-F238E27FC236}">
                    <a16:creationId xmlns:a16="http://schemas.microsoft.com/office/drawing/2014/main" id="{28EF15CF-0F5C-4F91-908E-DCE858FA69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57502" y="48243804"/>
                <a:ext cx="685800" cy="685800"/>
              </a:xfrm>
              <a:custGeom>
                <a:avLst/>
                <a:gdLst>
                  <a:gd name="T0" fmla="*/ 345 w 432"/>
                  <a:gd name="T1" fmla="*/ 346 h 432"/>
                  <a:gd name="T2" fmla="*/ 86 w 432"/>
                  <a:gd name="T3" fmla="*/ 346 h 432"/>
                  <a:gd name="T4" fmla="*/ 86 w 432"/>
                  <a:gd name="T5" fmla="*/ 86 h 432"/>
                  <a:gd name="T6" fmla="*/ 216 w 432"/>
                  <a:gd name="T7" fmla="*/ 86 h 432"/>
                  <a:gd name="T8" fmla="*/ 216 w 432"/>
                  <a:gd name="T9" fmla="*/ 0 h 432"/>
                  <a:gd name="T10" fmla="*/ 0 w 432"/>
                  <a:gd name="T11" fmla="*/ 0 h 432"/>
                  <a:gd name="T12" fmla="*/ 0 w 432"/>
                  <a:gd name="T13" fmla="*/ 432 h 432"/>
                  <a:gd name="T14" fmla="*/ 432 w 432"/>
                  <a:gd name="T15" fmla="*/ 432 h 432"/>
                  <a:gd name="T16" fmla="*/ 432 w 432"/>
                  <a:gd name="T17" fmla="*/ 216 h 432"/>
                  <a:gd name="T18" fmla="*/ 345 w 432"/>
                  <a:gd name="T19" fmla="*/ 216 h 432"/>
                  <a:gd name="T20" fmla="*/ 345 w 432"/>
                  <a:gd name="T21" fmla="*/ 34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2" h="432">
                    <a:moveTo>
                      <a:pt x="345" y="346"/>
                    </a:moveTo>
                    <a:lnTo>
                      <a:pt x="86" y="346"/>
                    </a:lnTo>
                    <a:lnTo>
                      <a:pt x="86" y="86"/>
                    </a:lnTo>
                    <a:lnTo>
                      <a:pt x="216" y="86"/>
                    </a:lnTo>
                    <a:lnTo>
                      <a:pt x="216" y="0"/>
                    </a:lnTo>
                    <a:lnTo>
                      <a:pt x="0" y="0"/>
                    </a:lnTo>
                    <a:lnTo>
                      <a:pt x="0" y="432"/>
                    </a:lnTo>
                    <a:lnTo>
                      <a:pt x="432" y="432"/>
                    </a:lnTo>
                    <a:lnTo>
                      <a:pt x="432" y="216"/>
                    </a:lnTo>
                    <a:lnTo>
                      <a:pt x="345" y="216"/>
                    </a:lnTo>
                    <a:lnTo>
                      <a:pt x="345" y="3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81">
                <a:extLst>
                  <a:ext uri="{FF2B5EF4-FFF2-40B4-BE49-F238E27FC236}">
                    <a16:creationId xmlns:a16="http://schemas.microsoft.com/office/drawing/2014/main" id="{8CAD15DD-3078-4B9C-B37E-69871370C6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6927" y="48105692"/>
                <a:ext cx="342900" cy="342900"/>
              </a:xfrm>
              <a:custGeom>
                <a:avLst/>
                <a:gdLst>
                  <a:gd name="T0" fmla="*/ 0 w 216"/>
                  <a:gd name="T1" fmla="*/ 87 h 216"/>
                  <a:gd name="T2" fmla="*/ 130 w 216"/>
                  <a:gd name="T3" fmla="*/ 87 h 216"/>
                  <a:gd name="T4" fmla="*/ 130 w 216"/>
                  <a:gd name="T5" fmla="*/ 216 h 216"/>
                  <a:gd name="T6" fmla="*/ 216 w 216"/>
                  <a:gd name="T7" fmla="*/ 216 h 216"/>
                  <a:gd name="T8" fmla="*/ 216 w 216"/>
                  <a:gd name="T9" fmla="*/ 0 h 216"/>
                  <a:gd name="T10" fmla="*/ 0 w 216"/>
                  <a:gd name="T11" fmla="*/ 0 h 216"/>
                  <a:gd name="T12" fmla="*/ 0 w 216"/>
                  <a:gd name="T13" fmla="*/ 87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6" h="216">
                    <a:moveTo>
                      <a:pt x="0" y="87"/>
                    </a:moveTo>
                    <a:lnTo>
                      <a:pt x="130" y="87"/>
                    </a:lnTo>
                    <a:lnTo>
                      <a:pt x="130" y="216"/>
                    </a:lnTo>
                    <a:lnTo>
                      <a:pt x="216" y="216"/>
                    </a:lnTo>
                    <a:lnTo>
                      <a:pt x="216" y="0"/>
                    </a:lnTo>
                    <a:lnTo>
                      <a:pt x="0" y="0"/>
                    </a:lnTo>
                    <a:lnTo>
                      <a:pt x="0" y="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Rectangle 82">
                <a:extLst>
                  <a:ext uri="{FF2B5EF4-FFF2-40B4-BE49-F238E27FC236}">
                    <a16:creationId xmlns:a16="http://schemas.microsoft.com/office/drawing/2014/main" id="{B63A2ABB-48B4-42FD-BA53-7B489C6437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32140" y="48518442"/>
                <a:ext cx="136525" cy="1365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CA1A0720-D4AF-4DC6-88BA-91490F297F22}"/>
              </a:ext>
            </a:extLst>
          </p:cNvPr>
          <p:cNvGrpSpPr/>
          <p:nvPr/>
        </p:nvGrpSpPr>
        <p:grpSpPr>
          <a:xfrm>
            <a:off x="9049354" y="1933766"/>
            <a:ext cx="1881427" cy="1881427"/>
            <a:chOff x="8580765" y="2323457"/>
            <a:chExt cx="1881427" cy="1881427"/>
          </a:xfrm>
        </p:grpSpPr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6CC5BB7D-37A4-4ED1-A79F-C2A4DAA2D69C}"/>
                </a:ext>
              </a:extLst>
            </p:cNvPr>
            <p:cNvSpPr/>
            <p:nvPr/>
          </p:nvSpPr>
          <p:spPr>
            <a:xfrm>
              <a:off x="8580765" y="2323457"/>
              <a:ext cx="1881427" cy="188142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400" dirty="0"/>
                <a:t>Industry Signals</a:t>
              </a:r>
            </a:p>
          </p:txBody>
        </p:sp>
        <p:sp>
          <p:nvSpPr>
            <p:cNvPr id="68" name="Freeform 65">
              <a:extLst>
                <a:ext uri="{FF2B5EF4-FFF2-40B4-BE49-F238E27FC236}">
                  <a16:creationId xmlns:a16="http://schemas.microsoft.com/office/drawing/2014/main" id="{E2E6F94B-1CA8-4FAE-8881-3AC3A3E228B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381626" y="3699785"/>
              <a:ext cx="279705" cy="372712"/>
            </a:xfrm>
            <a:custGeom>
              <a:avLst/>
              <a:gdLst>
                <a:gd name="T0" fmla="*/ 432 w 864"/>
                <a:gd name="T1" fmla="*/ 0 h 1152"/>
                <a:gd name="T2" fmla="*/ 0 w 864"/>
                <a:gd name="T3" fmla="*/ 432 h 1152"/>
                <a:gd name="T4" fmla="*/ 240 w 864"/>
                <a:gd name="T5" fmla="*/ 819 h 1152"/>
                <a:gd name="T6" fmla="*/ 240 w 864"/>
                <a:gd name="T7" fmla="*/ 672 h 1152"/>
                <a:gd name="T8" fmla="*/ 624 w 864"/>
                <a:gd name="T9" fmla="*/ 672 h 1152"/>
                <a:gd name="T10" fmla="*/ 624 w 864"/>
                <a:gd name="T11" fmla="*/ 819 h 1152"/>
                <a:gd name="T12" fmla="*/ 864 w 864"/>
                <a:gd name="T13" fmla="*/ 432 h 1152"/>
                <a:gd name="T14" fmla="*/ 432 w 864"/>
                <a:gd name="T15" fmla="*/ 0 h 1152"/>
                <a:gd name="T16" fmla="*/ 432 w 864"/>
                <a:gd name="T17" fmla="*/ 528 h 1152"/>
                <a:gd name="T18" fmla="*/ 336 w 864"/>
                <a:gd name="T19" fmla="*/ 336 h 1152"/>
                <a:gd name="T20" fmla="*/ 528 w 864"/>
                <a:gd name="T21" fmla="*/ 336 h 1152"/>
                <a:gd name="T22" fmla="*/ 432 w 864"/>
                <a:gd name="T23" fmla="*/ 528 h 1152"/>
                <a:gd name="T24" fmla="*/ 624 w 864"/>
                <a:gd name="T25" fmla="*/ 819 h 1152"/>
                <a:gd name="T26" fmla="*/ 624 w 864"/>
                <a:gd name="T27" fmla="*/ 960 h 1152"/>
                <a:gd name="T28" fmla="*/ 432 w 864"/>
                <a:gd name="T29" fmla="*/ 1152 h 1152"/>
                <a:gd name="T30" fmla="*/ 240 w 864"/>
                <a:gd name="T31" fmla="*/ 960 h 1152"/>
                <a:gd name="T32" fmla="*/ 240 w 864"/>
                <a:gd name="T33" fmla="*/ 819 h 1152"/>
                <a:gd name="T34" fmla="*/ 432 w 864"/>
                <a:gd name="T35" fmla="*/ 864 h 1152"/>
                <a:gd name="T36" fmla="*/ 624 w 864"/>
                <a:gd name="T37" fmla="*/ 819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" h="1152">
                  <a:moveTo>
                    <a:pt x="432" y="0"/>
                  </a:moveTo>
                  <a:cubicBezTo>
                    <a:pt x="193" y="0"/>
                    <a:pt x="0" y="193"/>
                    <a:pt x="0" y="432"/>
                  </a:cubicBezTo>
                  <a:cubicBezTo>
                    <a:pt x="0" y="602"/>
                    <a:pt x="98" y="748"/>
                    <a:pt x="240" y="819"/>
                  </a:cubicBezTo>
                  <a:cubicBezTo>
                    <a:pt x="240" y="672"/>
                    <a:pt x="240" y="672"/>
                    <a:pt x="240" y="672"/>
                  </a:cubicBezTo>
                  <a:cubicBezTo>
                    <a:pt x="624" y="672"/>
                    <a:pt x="624" y="672"/>
                    <a:pt x="624" y="672"/>
                  </a:cubicBezTo>
                  <a:cubicBezTo>
                    <a:pt x="624" y="819"/>
                    <a:pt x="624" y="819"/>
                    <a:pt x="624" y="819"/>
                  </a:cubicBezTo>
                  <a:cubicBezTo>
                    <a:pt x="766" y="748"/>
                    <a:pt x="864" y="602"/>
                    <a:pt x="864" y="432"/>
                  </a:cubicBezTo>
                  <a:cubicBezTo>
                    <a:pt x="864" y="193"/>
                    <a:pt x="671" y="0"/>
                    <a:pt x="432" y="0"/>
                  </a:cubicBezTo>
                  <a:close/>
                  <a:moveTo>
                    <a:pt x="432" y="528"/>
                  </a:moveTo>
                  <a:cubicBezTo>
                    <a:pt x="336" y="336"/>
                    <a:pt x="336" y="336"/>
                    <a:pt x="336" y="336"/>
                  </a:cubicBezTo>
                  <a:cubicBezTo>
                    <a:pt x="528" y="336"/>
                    <a:pt x="528" y="336"/>
                    <a:pt x="528" y="336"/>
                  </a:cubicBezTo>
                  <a:lnTo>
                    <a:pt x="432" y="528"/>
                  </a:lnTo>
                  <a:close/>
                  <a:moveTo>
                    <a:pt x="624" y="819"/>
                  </a:moveTo>
                  <a:cubicBezTo>
                    <a:pt x="624" y="960"/>
                    <a:pt x="624" y="960"/>
                    <a:pt x="624" y="960"/>
                  </a:cubicBezTo>
                  <a:cubicBezTo>
                    <a:pt x="624" y="1066"/>
                    <a:pt x="538" y="1152"/>
                    <a:pt x="432" y="1152"/>
                  </a:cubicBezTo>
                  <a:cubicBezTo>
                    <a:pt x="326" y="1152"/>
                    <a:pt x="240" y="1066"/>
                    <a:pt x="240" y="960"/>
                  </a:cubicBezTo>
                  <a:cubicBezTo>
                    <a:pt x="240" y="819"/>
                    <a:pt x="240" y="819"/>
                    <a:pt x="240" y="819"/>
                  </a:cubicBezTo>
                  <a:cubicBezTo>
                    <a:pt x="298" y="848"/>
                    <a:pt x="363" y="864"/>
                    <a:pt x="432" y="864"/>
                  </a:cubicBezTo>
                  <a:cubicBezTo>
                    <a:pt x="501" y="864"/>
                    <a:pt x="566" y="848"/>
                    <a:pt x="624" y="8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54988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7">
            <a:extLst>
              <a:ext uri="{FF2B5EF4-FFF2-40B4-BE49-F238E27FC236}">
                <a16:creationId xmlns:a16="http://schemas.microsoft.com/office/drawing/2014/main" id="{E7AA5003-C1D4-44A8-AA34-9D9121B3C983}"/>
              </a:ext>
            </a:extLst>
          </p:cNvPr>
          <p:cNvSpPr>
            <a:spLocks noEditPoints="1"/>
          </p:cNvSpPr>
          <p:nvPr/>
        </p:nvSpPr>
        <p:spPr bwMode="auto">
          <a:xfrm>
            <a:off x="685800" y="1693884"/>
            <a:ext cx="4591572" cy="4841833"/>
          </a:xfrm>
          <a:custGeom>
            <a:avLst/>
            <a:gdLst>
              <a:gd name="T0" fmla="*/ 768 w 1152"/>
              <a:gd name="T1" fmla="*/ 192 h 1152"/>
              <a:gd name="T2" fmla="*/ 576 w 1152"/>
              <a:gd name="T3" fmla="*/ 0 h 1152"/>
              <a:gd name="T4" fmla="*/ 384 w 1152"/>
              <a:gd name="T5" fmla="*/ 192 h 1152"/>
              <a:gd name="T6" fmla="*/ 409 w 1152"/>
              <a:gd name="T7" fmla="*/ 287 h 1152"/>
              <a:gd name="T8" fmla="*/ 576 w 1152"/>
              <a:gd name="T9" fmla="*/ 577 h 1152"/>
              <a:gd name="T10" fmla="*/ 743 w 1152"/>
              <a:gd name="T11" fmla="*/ 287 h 1152"/>
              <a:gd name="T12" fmla="*/ 768 w 1152"/>
              <a:gd name="T13" fmla="*/ 192 h 1152"/>
              <a:gd name="T14" fmla="*/ 576 w 1152"/>
              <a:gd name="T15" fmla="*/ 96 h 1152"/>
              <a:gd name="T16" fmla="*/ 672 w 1152"/>
              <a:gd name="T17" fmla="*/ 192 h 1152"/>
              <a:gd name="T18" fmla="*/ 576 w 1152"/>
              <a:gd name="T19" fmla="*/ 288 h 1152"/>
              <a:gd name="T20" fmla="*/ 480 w 1152"/>
              <a:gd name="T21" fmla="*/ 192 h 1152"/>
              <a:gd name="T22" fmla="*/ 576 w 1152"/>
              <a:gd name="T23" fmla="*/ 96 h 1152"/>
              <a:gd name="T24" fmla="*/ 1152 w 1152"/>
              <a:gd name="T25" fmla="*/ 576 h 1152"/>
              <a:gd name="T26" fmla="*/ 1152 w 1152"/>
              <a:gd name="T27" fmla="*/ 1152 h 1152"/>
              <a:gd name="T28" fmla="*/ 864 w 1152"/>
              <a:gd name="T29" fmla="*/ 1056 h 1152"/>
              <a:gd name="T30" fmla="*/ 576 w 1152"/>
              <a:gd name="T31" fmla="*/ 1152 h 1152"/>
              <a:gd name="T32" fmla="*/ 288 w 1152"/>
              <a:gd name="T33" fmla="*/ 1056 h 1152"/>
              <a:gd name="T34" fmla="*/ 0 w 1152"/>
              <a:gd name="T35" fmla="*/ 1152 h 1152"/>
              <a:gd name="T36" fmla="*/ 1 w 1152"/>
              <a:gd name="T37" fmla="*/ 577 h 1152"/>
              <a:gd name="T38" fmla="*/ 288 w 1152"/>
              <a:gd name="T39" fmla="*/ 481 h 1152"/>
              <a:gd name="T40" fmla="*/ 576 w 1152"/>
              <a:gd name="T41" fmla="*/ 576 h 1152"/>
              <a:gd name="T42" fmla="*/ 864 w 1152"/>
              <a:gd name="T43" fmla="*/ 480 h 1152"/>
              <a:gd name="T44" fmla="*/ 1152 w 1152"/>
              <a:gd name="T45" fmla="*/ 576 h 1152"/>
              <a:gd name="T46" fmla="*/ 432 w 1152"/>
              <a:gd name="T47" fmla="*/ 815 h 1152"/>
              <a:gd name="T48" fmla="*/ 448 w 1152"/>
              <a:gd name="T49" fmla="*/ 749 h 1152"/>
              <a:gd name="T50" fmla="*/ 480 w 1152"/>
              <a:gd name="T51" fmla="*/ 781 h 1152"/>
              <a:gd name="T52" fmla="*/ 480 w 1152"/>
              <a:gd name="T53" fmla="*/ 646 h 1152"/>
              <a:gd name="T54" fmla="*/ 344 w 1152"/>
              <a:gd name="T55" fmla="*/ 646 h 1152"/>
              <a:gd name="T56" fmla="*/ 378 w 1152"/>
              <a:gd name="T57" fmla="*/ 680 h 1152"/>
              <a:gd name="T58" fmla="*/ 336 w 1152"/>
              <a:gd name="T59" fmla="*/ 815 h 1152"/>
              <a:gd name="T60" fmla="*/ 576 w 1152"/>
              <a:gd name="T61" fmla="*/ 1055 h 1152"/>
              <a:gd name="T62" fmla="*/ 576 w 1152"/>
              <a:gd name="T63" fmla="*/ 959 h 1152"/>
              <a:gd name="T64" fmla="*/ 432 w 1152"/>
              <a:gd name="T65" fmla="*/ 815 h 1152"/>
              <a:gd name="T66" fmla="*/ 816 w 1152"/>
              <a:gd name="T67" fmla="*/ 815 h 1152"/>
              <a:gd name="T68" fmla="*/ 576 w 1152"/>
              <a:gd name="T69" fmla="*/ 575 h 1152"/>
              <a:gd name="T70" fmla="*/ 576 w 1152"/>
              <a:gd name="T71" fmla="*/ 671 h 1152"/>
              <a:gd name="T72" fmla="*/ 720 w 1152"/>
              <a:gd name="T73" fmla="*/ 815 h 1152"/>
              <a:gd name="T74" fmla="*/ 704 w 1152"/>
              <a:gd name="T75" fmla="*/ 881 h 1152"/>
              <a:gd name="T76" fmla="*/ 672 w 1152"/>
              <a:gd name="T77" fmla="*/ 849 h 1152"/>
              <a:gd name="T78" fmla="*/ 672 w 1152"/>
              <a:gd name="T79" fmla="*/ 985 h 1152"/>
              <a:gd name="T80" fmla="*/ 808 w 1152"/>
              <a:gd name="T81" fmla="*/ 985 h 1152"/>
              <a:gd name="T82" fmla="*/ 774 w 1152"/>
              <a:gd name="T83" fmla="*/ 951 h 1152"/>
              <a:gd name="T84" fmla="*/ 816 w 1152"/>
              <a:gd name="T85" fmla="*/ 815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152" h="1152">
                <a:moveTo>
                  <a:pt x="768" y="192"/>
                </a:moveTo>
                <a:cubicBezTo>
                  <a:pt x="768" y="86"/>
                  <a:pt x="682" y="0"/>
                  <a:pt x="576" y="0"/>
                </a:cubicBezTo>
                <a:cubicBezTo>
                  <a:pt x="470" y="0"/>
                  <a:pt x="384" y="86"/>
                  <a:pt x="384" y="192"/>
                </a:cubicBezTo>
                <a:cubicBezTo>
                  <a:pt x="384" y="227"/>
                  <a:pt x="393" y="259"/>
                  <a:pt x="409" y="287"/>
                </a:cubicBezTo>
                <a:cubicBezTo>
                  <a:pt x="576" y="577"/>
                  <a:pt x="576" y="577"/>
                  <a:pt x="576" y="577"/>
                </a:cubicBezTo>
                <a:cubicBezTo>
                  <a:pt x="743" y="287"/>
                  <a:pt x="743" y="287"/>
                  <a:pt x="743" y="287"/>
                </a:cubicBezTo>
                <a:cubicBezTo>
                  <a:pt x="759" y="259"/>
                  <a:pt x="768" y="227"/>
                  <a:pt x="768" y="192"/>
                </a:cubicBezTo>
                <a:close/>
                <a:moveTo>
                  <a:pt x="576" y="96"/>
                </a:moveTo>
                <a:cubicBezTo>
                  <a:pt x="629" y="96"/>
                  <a:pt x="672" y="139"/>
                  <a:pt x="672" y="192"/>
                </a:cubicBezTo>
                <a:cubicBezTo>
                  <a:pt x="672" y="245"/>
                  <a:pt x="629" y="288"/>
                  <a:pt x="576" y="288"/>
                </a:cubicBezTo>
                <a:cubicBezTo>
                  <a:pt x="523" y="288"/>
                  <a:pt x="480" y="245"/>
                  <a:pt x="480" y="192"/>
                </a:cubicBezTo>
                <a:cubicBezTo>
                  <a:pt x="480" y="139"/>
                  <a:pt x="523" y="96"/>
                  <a:pt x="576" y="96"/>
                </a:cubicBezTo>
                <a:close/>
                <a:moveTo>
                  <a:pt x="1152" y="576"/>
                </a:moveTo>
                <a:cubicBezTo>
                  <a:pt x="1152" y="1152"/>
                  <a:pt x="1152" y="1152"/>
                  <a:pt x="1152" y="1152"/>
                </a:cubicBezTo>
                <a:cubicBezTo>
                  <a:pt x="864" y="1056"/>
                  <a:pt x="864" y="1056"/>
                  <a:pt x="864" y="1056"/>
                </a:cubicBezTo>
                <a:cubicBezTo>
                  <a:pt x="576" y="1152"/>
                  <a:pt x="576" y="1152"/>
                  <a:pt x="576" y="1152"/>
                </a:cubicBezTo>
                <a:cubicBezTo>
                  <a:pt x="288" y="1056"/>
                  <a:pt x="288" y="1056"/>
                  <a:pt x="288" y="1056"/>
                </a:cubicBezTo>
                <a:cubicBezTo>
                  <a:pt x="0" y="1152"/>
                  <a:pt x="0" y="1152"/>
                  <a:pt x="0" y="1152"/>
                </a:cubicBezTo>
                <a:cubicBezTo>
                  <a:pt x="1" y="577"/>
                  <a:pt x="1" y="577"/>
                  <a:pt x="1" y="577"/>
                </a:cubicBezTo>
                <a:cubicBezTo>
                  <a:pt x="288" y="481"/>
                  <a:pt x="288" y="481"/>
                  <a:pt x="288" y="481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864" y="480"/>
                  <a:pt x="864" y="480"/>
                  <a:pt x="864" y="480"/>
                </a:cubicBezTo>
                <a:lnTo>
                  <a:pt x="1152" y="576"/>
                </a:lnTo>
                <a:close/>
                <a:moveTo>
                  <a:pt x="432" y="815"/>
                </a:moveTo>
                <a:cubicBezTo>
                  <a:pt x="432" y="792"/>
                  <a:pt x="438" y="769"/>
                  <a:pt x="448" y="749"/>
                </a:cubicBezTo>
                <a:cubicBezTo>
                  <a:pt x="480" y="781"/>
                  <a:pt x="480" y="781"/>
                  <a:pt x="480" y="781"/>
                </a:cubicBezTo>
                <a:cubicBezTo>
                  <a:pt x="480" y="646"/>
                  <a:pt x="480" y="646"/>
                  <a:pt x="480" y="646"/>
                </a:cubicBezTo>
                <a:cubicBezTo>
                  <a:pt x="344" y="646"/>
                  <a:pt x="344" y="646"/>
                  <a:pt x="344" y="646"/>
                </a:cubicBezTo>
                <a:cubicBezTo>
                  <a:pt x="378" y="680"/>
                  <a:pt x="378" y="680"/>
                  <a:pt x="378" y="680"/>
                </a:cubicBezTo>
                <a:cubicBezTo>
                  <a:pt x="352" y="718"/>
                  <a:pt x="336" y="765"/>
                  <a:pt x="336" y="815"/>
                </a:cubicBezTo>
                <a:cubicBezTo>
                  <a:pt x="336" y="948"/>
                  <a:pt x="443" y="1055"/>
                  <a:pt x="576" y="1055"/>
                </a:cubicBezTo>
                <a:cubicBezTo>
                  <a:pt x="576" y="959"/>
                  <a:pt x="576" y="959"/>
                  <a:pt x="576" y="959"/>
                </a:cubicBezTo>
                <a:cubicBezTo>
                  <a:pt x="496" y="959"/>
                  <a:pt x="432" y="895"/>
                  <a:pt x="432" y="815"/>
                </a:cubicBezTo>
                <a:close/>
                <a:moveTo>
                  <a:pt x="816" y="815"/>
                </a:moveTo>
                <a:cubicBezTo>
                  <a:pt x="816" y="683"/>
                  <a:pt x="709" y="575"/>
                  <a:pt x="576" y="575"/>
                </a:cubicBezTo>
                <a:cubicBezTo>
                  <a:pt x="576" y="671"/>
                  <a:pt x="576" y="671"/>
                  <a:pt x="576" y="671"/>
                </a:cubicBezTo>
                <a:cubicBezTo>
                  <a:pt x="656" y="671"/>
                  <a:pt x="720" y="736"/>
                  <a:pt x="720" y="815"/>
                </a:cubicBezTo>
                <a:cubicBezTo>
                  <a:pt x="720" y="839"/>
                  <a:pt x="714" y="862"/>
                  <a:pt x="704" y="881"/>
                </a:cubicBezTo>
                <a:cubicBezTo>
                  <a:pt x="672" y="849"/>
                  <a:pt x="672" y="849"/>
                  <a:pt x="672" y="849"/>
                </a:cubicBezTo>
                <a:cubicBezTo>
                  <a:pt x="672" y="985"/>
                  <a:pt x="672" y="985"/>
                  <a:pt x="672" y="985"/>
                </a:cubicBezTo>
                <a:cubicBezTo>
                  <a:pt x="808" y="985"/>
                  <a:pt x="808" y="985"/>
                  <a:pt x="808" y="985"/>
                </a:cubicBezTo>
                <a:cubicBezTo>
                  <a:pt x="774" y="951"/>
                  <a:pt x="774" y="951"/>
                  <a:pt x="774" y="951"/>
                </a:cubicBezTo>
                <a:cubicBezTo>
                  <a:pt x="800" y="913"/>
                  <a:pt x="816" y="866"/>
                  <a:pt x="816" y="81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Title 26">
            <a:extLst>
              <a:ext uri="{FF2B5EF4-FFF2-40B4-BE49-F238E27FC236}">
                <a16:creationId xmlns:a16="http://schemas.microsoft.com/office/drawing/2014/main" id="{BDDA9CDC-6E31-4638-B94B-06D20EBA7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639763"/>
            <a:ext cx="13258800" cy="1417636"/>
          </a:xfrm>
        </p:spPr>
        <p:txBody>
          <a:bodyPr/>
          <a:lstStyle/>
          <a:p>
            <a:r>
              <a:rPr lang="en-GB" dirty="0"/>
              <a:t>Go Explore!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E509BF6-1893-4755-B3AF-EB091FDB243C}"/>
              </a:ext>
            </a:extLst>
          </p:cNvPr>
          <p:cNvGrpSpPr/>
          <p:nvPr/>
        </p:nvGrpSpPr>
        <p:grpSpPr>
          <a:xfrm>
            <a:off x="13073510" y="409502"/>
            <a:ext cx="871090" cy="797592"/>
            <a:chOff x="1921047" y="2009393"/>
            <a:chExt cx="3929255" cy="3597728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4D240B51-D2F0-4445-86BA-4B78C5DCDB87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C0259E-9431-46D4-8E79-D16C311BADEF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A0CF6B8-5751-4618-BF37-B50FF636C044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9482A62-DB46-42CC-8EFC-FFF8B6E87EB1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3D3C437A-6BD7-4BF3-9A50-47A80FF677F0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85160DA-274A-4971-8C88-5A6D38AE1804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82CC6F5-0CD4-4733-8A13-1CF5886626F8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09A5D59D-7542-42F3-827F-1F885280E86C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3247BC3D-B549-44CA-B6C7-77620095DCB5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1314002B-0CB9-40FD-9E27-E84165EA0326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0EAB0E-BA35-4F09-9A4D-7A94799FA081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99D2D6E-4E88-43AB-A45C-6A170379DE5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FF5117A6-FCC4-4B08-9F14-E815251916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12A08D9F-07B9-45CC-8EC0-8D5E7B16AA41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05C8DE-9A28-4F09-83FF-BA0A0624E70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9013AFD2-F5FA-4C45-89E8-8969F90640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0CB48EC3-B389-4ED0-975C-7F83465FD2E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755EEDC6-4048-4B79-96CB-54C02B3E5B4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B6EB10B4-DCDC-4311-911B-5EFC24B94CD0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6D0C9BD6-45FE-410B-985F-4A48E3D1BD3E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0AC0B86-2C8C-4187-8819-BB2475C5474E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BCFBCC7-F61D-4BAE-8FB9-4CC4E5D09C6E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B5F5C97-E38D-41B5-B02E-4997BFE6EED5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CB1D9103-F8AA-4667-8F59-9B6AEDD858C6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B73D7CF-120B-433A-A236-1AA9D0019E73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B5FE6A9-AD6F-4C33-B188-08EBDF21E070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E5B8CC1C-C4B4-483F-9B79-972969470ED5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BAFA30E7-CE09-48FA-AAA6-1CF0C22A006E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00689EB-48F8-48B8-B518-4B5A492F4CAD}"/>
              </a:ext>
            </a:extLst>
          </p:cNvPr>
          <p:cNvGrpSpPr/>
          <p:nvPr/>
        </p:nvGrpSpPr>
        <p:grpSpPr>
          <a:xfrm>
            <a:off x="5464274" y="1821142"/>
            <a:ext cx="8822551" cy="1118848"/>
            <a:chOff x="5464274" y="1418641"/>
            <a:chExt cx="8822551" cy="111884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737D550-8644-4247-A6E1-9A182AB043BC}"/>
                </a:ext>
              </a:extLst>
            </p:cNvPr>
            <p:cNvSpPr txBox="1"/>
            <p:nvPr/>
          </p:nvSpPr>
          <p:spPr>
            <a:xfrm>
              <a:off x="6770024" y="1488701"/>
              <a:ext cx="7516801" cy="9787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/>
                <a:t>Create a workspace and drop in the </a:t>
              </a:r>
              <a:br>
                <a:rPr lang="en-GB" b="1" dirty="0"/>
              </a:br>
              <a:r>
                <a:rPr lang="en-GB" b="1" dirty="0"/>
                <a:t>last request you received from your client</a:t>
              </a: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F93EF1D2-3475-4EC2-AE38-59AEE58B4357}"/>
                </a:ext>
              </a:extLst>
            </p:cNvPr>
            <p:cNvGrpSpPr/>
            <p:nvPr/>
          </p:nvGrpSpPr>
          <p:grpSpPr>
            <a:xfrm>
              <a:off x="5464274" y="1418641"/>
              <a:ext cx="1118848" cy="1118848"/>
              <a:chOff x="5464274" y="1418641"/>
              <a:chExt cx="1118848" cy="1118848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4D8963F4-3682-4FCB-AD2C-28111DB9D8BD}"/>
                  </a:ext>
                </a:extLst>
              </p:cNvPr>
              <p:cNvSpPr/>
              <p:nvPr/>
            </p:nvSpPr>
            <p:spPr>
              <a:xfrm>
                <a:off x="5464274" y="1418641"/>
                <a:ext cx="1118848" cy="111884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37" name="Freeform 121">
                <a:extLst>
                  <a:ext uri="{FF2B5EF4-FFF2-40B4-BE49-F238E27FC236}">
                    <a16:creationId xmlns:a16="http://schemas.microsoft.com/office/drawing/2014/main" id="{6596B58C-D972-48FA-BB13-359B1CF4B0A9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5544956" y="1698331"/>
                <a:ext cx="957485" cy="559469"/>
              </a:xfrm>
              <a:custGeom>
                <a:avLst/>
                <a:gdLst>
                  <a:gd name="T0" fmla="*/ 576 w 1152"/>
                  <a:gd name="T1" fmla="*/ 571 h 672"/>
                  <a:gd name="T2" fmla="*/ 336 w 1152"/>
                  <a:gd name="T3" fmla="*/ 672 h 672"/>
                  <a:gd name="T4" fmla="*/ 0 w 1152"/>
                  <a:gd name="T5" fmla="*/ 336 h 672"/>
                  <a:gd name="T6" fmla="*/ 336 w 1152"/>
                  <a:gd name="T7" fmla="*/ 0 h 672"/>
                  <a:gd name="T8" fmla="*/ 576 w 1152"/>
                  <a:gd name="T9" fmla="*/ 101 h 672"/>
                  <a:gd name="T10" fmla="*/ 480 w 1152"/>
                  <a:gd name="T11" fmla="*/ 336 h 672"/>
                  <a:gd name="T12" fmla="*/ 576 w 1152"/>
                  <a:gd name="T13" fmla="*/ 571 h 672"/>
                  <a:gd name="T14" fmla="*/ 816 w 1152"/>
                  <a:gd name="T15" fmla="*/ 0 h 672"/>
                  <a:gd name="T16" fmla="*/ 576 w 1152"/>
                  <a:gd name="T17" fmla="*/ 101 h 672"/>
                  <a:gd name="T18" fmla="*/ 672 w 1152"/>
                  <a:gd name="T19" fmla="*/ 336 h 672"/>
                  <a:gd name="T20" fmla="*/ 576 w 1152"/>
                  <a:gd name="T21" fmla="*/ 571 h 672"/>
                  <a:gd name="T22" fmla="*/ 816 w 1152"/>
                  <a:gd name="T23" fmla="*/ 672 h 672"/>
                  <a:gd name="T24" fmla="*/ 1152 w 1152"/>
                  <a:gd name="T25" fmla="*/ 336 h 672"/>
                  <a:gd name="T26" fmla="*/ 816 w 1152"/>
                  <a:gd name="T27" fmla="*/ 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2" h="672">
                    <a:moveTo>
                      <a:pt x="576" y="571"/>
                    </a:moveTo>
                    <a:cubicBezTo>
                      <a:pt x="515" y="633"/>
                      <a:pt x="430" y="672"/>
                      <a:pt x="336" y="672"/>
                    </a:cubicBezTo>
                    <a:cubicBezTo>
                      <a:pt x="150" y="672"/>
                      <a:pt x="0" y="522"/>
                      <a:pt x="0" y="336"/>
                    </a:cubicBezTo>
                    <a:cubicBezTo>
                      <a:pt x="0" y="150"/>
                      <a:pt x="150" y="0"/>
                      <a:pt x="336" y="0"/>
                    </a:cubicBezTo>
                    <a:cubicBezTo>
                      <a:pt x="430" y="0"/>
                      <a:pt x="515" y="39"/>
                      <a:pt x="576" y="101"/>
                    </a:cubicBezTo>
                    <a:cubicBezTo>
                      <a:pt x="517" y="162"/>
                      <a:pt x="480" y="244"/>
                      <a:pt x="480" y="336"/>
                    </a:cubicBezTo>
                    <a:cubicBezTo>
                      <a:pt x="480" y="428"/>
                      <a:pt x="517" y="510"/>
                      <a:pt x="576" y="571"/>
                    </a:cubicBezTo>
                    <a:close/>
                    <a:moveTo>
                      <a:pt x="816" y="0"/>
                    </a:moveTo>
                    <a:cubicBezTo>
                      <a:pt x="722" y="0"/>
                      <a:pt x="637" y="39"/>
                      <a:pt x="576" y="101"/>
                    </a:cubicBezTo>
                    <a:cubicBezTo>
                      <a:pt x="635" y="162"/>
                      <a:pt x="672" y="244"/>
                      <a:pt x="672" y="336"/>
                    </a:cubicBezTo>
                    <a:cubicBezTo>
                      <a:pt x="672" y="428"/>
                      <a:pt x="635" y="510"/>
                      <a:pt x="576" y="571"/>
                    </a:cubicBezTo>
                    <a:cubicBezTo>
                      <a:pt x="637" y="633"/>
                      <a:pt x="722" y="672"/>
                      <a:pt x="816" y="672"/>
                    </a:cubicBezTo>
                    <a:cubicBezTo>
                      <a:pt x="1002" y="672"/>
                      <a:pt x="1152" y="522"/>
                      <a:pt x="1152" y="336"/>
                    </a:cubicBezTo>
                    <a:cubicBezTo>
                      <a:pt x="1152" y="150"/>
                      <a:pt x="1002" y="0"/>
                      <a:pt x="81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045F20F7-CB5B-43C8-B9C3-FECC0858C2D4}"/>
              </a:ext>
            </a:extLst>
          </p:cNvPr>
          <p:cNvSpPr txBox="1"/>
          <p:nvPr/>
        </p:nvSpPr>
        <p:spPr>
          <a:xfrm>
            <a:off x="6770024" y="3778065"/>
            <a:ext cx="7604069" cy="9787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Develop your client’s Digital Blueprint or</a:t>
            </a:r>
            <a:br>
              <a:rPr lang="en-GB" b="1" dirty="0"/>
            </a:br>
            <a:r>
              <a:rPr lang="en-GB" b="1" dirty="0"/>
              <a:t>Innovation Agenda inside Digital Explorer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EB48BF8-4DBC-46DC-80F9-9386867D2698}"/>
              </a:ext>
            </a:extLst>
          </p:cNvPr>
          <p:cNvGrpSpPr/>
          <p:nvPr/>
        </p:nvGrpSpPr>
        <p:grpSpPr>
          <a:xfrm>
            <a:off x="5464274" y="3708005"/>
            <a:ext cx="1118848" cy="1118848"/>
            <a:chOff x="5464274" y="3708005"/>
            <a:chExt cx="1118848" cy="1118848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62A4C87A-3782-4301-ACBC-ACD115C467C1}"/>
                </a:ext>
              </a:extLst>
            </p:cNvPr>
            <p:cNvSpPr/>
            <p:nvPr/>
          </p:nvSpPr>
          <p:spPr>
            <a:xfrm>
              <a:off x="5464274" y="3708005"/>
              <a:ext cx="1118848" cy="1118848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F1A0893-3D1D-416B-8599-CE9EC5C5DFF8}"/>
                </a:ext>
              </a:extLst>
            </p:cNvPr>
            <p:cNvGrpSpPr/>
            <p:nvPr/>
          </p:nvGrpSpPr>
          <p:grpSpPr>
            <a:xfrm>
              <a:off x="5612536" y="3856267"/>
              <a:ext cx="822325" cy="822325"/>
              <a:chOff x="8373533" y="48106486"/>
              <a:chExt cx="822325" cy="822325"/>
            </a:xfrm>
            <a:solidFill>
              <a:schemeClr val="bg1"/>
            </a:solidFill>
          </p:grpSpPr>
          <p:sp>
            <p:nvSpPr>
              <p:cNvPr id="46" name="Freeform 74">
                <a:extLst>
                  <a:ext uri="{FF2B5EF4-FFF2-40B4-BE49-F238E27FC236}">
                    <a16:creationId xmlns:a16="http://schemas.microsoft.com/office/drawing/2014/main" id="{C59F0EB2-99B4-4E16-966E-B7A31D1021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73533" y="48243011"/>
                <a:ext cx="685800" cy="685800"/>
              </a:xfrm>
              <a:custGeom>
                <a:avLst/>
                <a:gdLst>
                  <a:gd name="T0" fmla="*/ 480 w 960"/>
                  <a:gd name="T1" fmla="*/ 768 h 960"/>
                  <a:gd name="T2" fmla="*/ 768 w 960"/>
                  <a:gd name="T3" fmla="*/ 480 h 960"/>
                  <a:gd name="T4" fmla="*/ 960 w 960"/>
                  <a:gd name="T5" fmla="*/ 480 h 960"/>
                  <a:gd name="T6" fmla="*/ 480 w 960"/>
                  <a:gd name="T7" fmla="*/ 960 h 960"/>
                  <a:gd name="T8" fmla="*/ 0 w 960"/>
                  <a:gd name="T9" fmla="*/ 480 h 960"/>
                  <a:gd name="T10" fmla="*/ 480 w 960"/>
                  <a:gd name="T11" fmla="*/ 0 h 960"/>
                  <a:gd name="T12" fmla="*/ 480 w 960"/>
                  <a:gd name="T13" fmla="*/ 192 h 960"/>
                  <a:gd name="T14" fmla="*/ 192 w 960"/>
                  <a:gd name="T15" fmla="*/ 480 h 960"/>
                  <a:gd name="T16" fmla="*/ 480 w 960"/>
                  <a:gd name="T17" fmla="*/ 768 h 9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0" h="960">
                    <a:moveTo>
                      <a:pt x="480" y="768"/>
                    </a:moveTo>
                    <a:cubicBezTo>
                      <a:pt x="639" y="768"/>
                      <a:pt x="768" y="639"/>
                      <a:pt x="768" y="480"/>
                    </a:cubicBezTo>
                    <a:cubicBezTo>
                      <a:pt x="960" y="480"/>
                      <a:pt x="960" y="480"/>
                      <a:pt x="960" y="480"/>
                    </a:cubicBezTo>
                    <a:cubicBezTo>
                      <a:pt x="960" y="745"/>
                      <a:pt x="745" y="960"/>
                      <a:pt x="480" y="960"/>
                    </a:cubicBezTo>
                    <a:cubicBezTo>
                      <a:pt x="215" y="960"/>
                      <a:pt x="0" y="745"/>
                      <a:pt x="0" y="480"/>
                    </a:cubicBezTo>
                    <a:cubicBezTo>
                      <a:pt x="0" y="215"/>
                      <a:pt x="215" y="0"/>
                      <a:pt x="480" y="0"/>
                    </a:cubicBezTo>
                    <a:cubicBezTo>
                      <a:pt x="480" y="192"/>
                      <a:pt x="480" y="192"/>
                      <a:pt x="480" y="192"/>
                    </a:cubicBezTo>
                    <a:cubicBezTo>
                      <a:pt x="321" y="192"/>
                      <a:pt x="192" y="321"/>
                      <a:pt x="192" y="480"/>
                    </a:cubicBezTo>
                    <a:cubicBezTo>
                      <a:pt x="192" y="639"/>
                      <a:pt x="321" y="768"/>
                      <a:pt x="480" y="76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75">
                <a:extLst>
                  <a:ext uri="{FF2B5EF4-FFF2-40B4-BE49-F238E27FC236}">
                    <a16:creationId xmlns:a16="http://schemas.microsoft.com/office/drawing/2014/main" id="{EC3481ED-1BF2-4A72-9A4B-95B12D16F5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52958" y="48106486"/>
                <a:ext cx="342900" cy="342900"/>
              </a:xfrm>
              <a:custGeom>
                <a:avLst/>
                <a:gdLst>
                  <a:gd name="T0" fmla="*/ 0 w 480"/>
                  <a:gd name="T1" fmla="*/ 0 h 480"/>
                  <a:gd name="T2" fmla="*/ 0 w 480"/>
                  <a:gd name="T3" fmla="*/ 192 h 480"/>
                  <a:gd name="T4" fmla="*/ 288 w 480"/>
                  <a:gd name="T5" fmla="*/ 480 h 480"/>
                  <a:gd name="T6" fmla="*/ 480 w 480"/>
                  <a:gd name="T7" fmla="*/ 480 h 480"/>
                  <a:gd name="T8" fmla="*/ 0 w 480"/>
                  <a:gd name="T9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0" h="480">
                    <a:moveTo>
                      <a:pt x="0" y="0"/>
                    </a:moveTo>
                    <a:cubicBezTo>
                      <a:pt x="0" y="192"/>
                      <a:pt x="0" y="192"/>
                      <a:pt x="0" y="192"/>
                    </a:cubicBezTo>
                    <a:cubicBezTo>
                      <a:pt x="159" y="192"/>
                      <a:pt x="288" y="321"/>
                      <a:pt x="288" y="480"/>
                    </a:cubicBezTo>
                    <a:cubicBezTo>
                      <a:pt x="480" y="480"/>
                      <a:pt x="480" y="480"/>
                      <a:pt x="480" y="480"/>
                    </a:cubicBezTo>
                    <a:cubicBezTo>
                      <a:pt x="480" y="215"/>
                      <a:pt x="265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Oval 76">
                <a:extLst>
                  <a:ext uri="{FF2B5EF4-FFF2-40B4-BE49-F238E27FC236}">
                    <a16:creationId xmlns:a16="http://schemas.microsoft.com/office/drawing/2014/main" id="{7FC249B3-8C06-4490-AD37-9ACC64532A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48171" y="48517649"/>
                <a:ext cx="136525" cy="1365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0248D413-00FD-4DDC-A166-AA733A86B0D5}"/>
              </a:ext>
            </a:extLst>
          </p:cNvPr>
          <p:cNvSpPr txBox="1"/>
          <p:nvPr/>
        </p:nvSpPr>
        <p:spPr>
          <a:xfrm>
            <a:off x="6770024" y="5817260"/>
            <a:ext cx="4230645" cy="5355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Share your solutions…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6BA51C93-F7C9-4F2F-B5C4-03F86D76A61A}"/>
              </a:ext>
            </a:extLst>
          </p:cNvPr>
          <p:cNvSpPr/>
          <p:nvPr/>
        </p:nvSpPr>
        <p:spPr>
          <a:xfrm>
            <a:off x="5544956" y="5524808"/>
            <a:ext cx="1118848" cy="111884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3352990A-1F08-4137-BDAF-EAA2A9A8813B}"/>
              </a:ext>
            </a:extLst>
          </p:cNvPr>
          <p:cNvGrpSpPr/>
          <p:nvPr/>
        </p:nvGrpSpPr>
        <p:grpSpPr>
          <a:xfrm>
            <a:off x="5693218" y="5672276"/>
            <a:ext cx="822325" cy="823912"/>
            <a:chOff x="9857502" y="48105692"/>
            <a:chExt cx="822325" cy="823912"/>
          </a:xfrm>
          <a:solidFill>
            <a:schemeClr val="bg1"/>
          </a:solidFill>
        </p:grpSpPr>
        <p:sp>
          <p:nvSpPr>
            <p:cNvPr id="58" name="Freeform 80">
              <a:extLst>
                <a:ext uri="{FF2B5EF4-FFF2-40B4-BE49-F238E27FC236}">
                  <a16:creationId xmlns:a16="http://schemas.microsoft.com/office/drawing/2014/main" id="{71F4C7A8-46CB-4F78-B44A-66B039549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7502" y="48243804"/>
              <a:ext cx="685800" cy="685800"/>
            </a:xfrm>
            <a:custGeom>
              <a:avLst/>
              <a:gdLst>
                <a:gd name="T0" fmla="*/ 345 w 432"/>
                <a:gd name="T1" fmla="*/ 346 h 432"/>
                <a:gd name="T2" fmla="*/ 86 w 432"/>
                <a:gd name="T3" fmla="*/ 346 h 432"/>
                <a:gd name="T4" fmla="*/ 86 w 432"/>
                <a:gd name="T5" fmla="*/ 86 h 432"/>
                <a:gd name="T6" fmla="*/ 216 w 432"/>
                <a:gd name="T7" fmla="*/ 86 h 432"/>
                <a:gd name="T8" fmla="*/ 216 w 432"/>
                <a:gd name="T9" fmla="*/ 0 h 432"/>
                <a:gd name="T10" fmla="*/ 0 w 432"/>
                <a:gd name="T11" fmla="*/ 0 h 432"/>
                <a:gd name="T12" fmla="*/ 0 w 432"/>
                <a:gd name="T13" fmla="*/ 432 h 432"/>
                <a:gd name="T14" fmla="*/ 432 w 432"/>
                <a:gd name="T15" fmla="*/ 432 h 432"/>
                <a:gd name="T16" fmla="*/ 432 w 432"/>
                <a:gd name="T17" fmla="*/ 216 h 432"/>
                <a:gd name="T18" fmla="*/ 345 w 432"/>
                <a:gd name="T19" fmla="*/ 216 h 432"/>
                <a:gd name="T20" fmla="*/ 345 w 432"/>
                <a:gd name="T21" fmla="*/ 34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2" h="432">
                  <a:moveTo>
                    <a:pt x="345" y="346"/>
                  </a:moveTo>
                  <a:lnTo>
                    <a:pt x="86" y="346"/>
                  </a:lnTo>
                  <a:lnTo>
                    <a:pt x="86" y="86"/>
                  </a:lnTo>
                  <a:lnTo>
                    <a:pt x="216" y="8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432"/>
                  </a:lnTo>
                  <a:lnTo>
                    <a:pt x="432" y="432"/>
                  </a:lnTo>
                  <a:lnTo>
                    <a:pt x="432" y="216"/>
                  </a:lnTo>
                  <a:lnTo>
                    <a:pt x="345" y="216"/>
                  </a:lnTo>
                  <a:lnTo>
                    <a:pt x="345" y="3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81">
              <a:extLst>
                <a:ext uri="{FF2B5EF4-FFF2-40B4-BE49-F238E27FC236}">
                  <a16:creationId xmlns:a16="http://schemas.microsoft.com/office/drawing/2014/main" id="{418736FC-1D1B-4CF3-A75D-CEA83F2AA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6927" y="48105692"/>
              <a:ext cx="342900" cy="342900"/>
            </a:xfrm>
            <a:custGeom>
              <a:avLst/>
              <a:gdLst>
                <a:gd name="T0" fmla="*/ 0 w 216"/>
                <a:gd name="T1" fmla="*/ 87 h 216"/>
                <a:gd name="T2" fmla="*/ 130 w 216"/>
                <a:gd name="T3" fmla="*/ 87 h 216"/>
                <a:gd name="T4" fmla="*/ 130 w 216"/>
                <a:gd name="T5" fmla="*/ 216 h 216"/>
                <a:gd name="T6" fmla="*/ 216 w 216"/>
                <a:gd name="T7" fmla="*/ 216 h 216"/>
                <a:gd name="T8" fmla="*/ 216 w 216"/>
                <a:gd name="T9" fmla="*/ 0 h 216"/>
                <a:gd name="T10" fmla="*/ 0 w 216"/>
                <a:gd name="T11" fmla="*/ 0 h 216"/>
                <a:gd name="T12" fmla="*/ 0 w 216"/>
                <a:gd name="T13" fmla="*/ 8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16">
                  <a:moveTo>
                    <a:pt x="0" y="87"/>
                  </a:moveTo>
                  <a:lnTo>
                    <a:pt x="130" y="87"/>
                  </a:lnTo>
                  <a:lnTo>
                    <a:pt x="130" y="216"/>
                  </a:lnTo>
                  <a:lnTo>
                    <a:pt x="216" y="21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82">
              <a:extLst>
                <a:ext uri="{FF2B5EF4-FFF2-40B4-BE49-F238E27FC236}">
                  <a16:creationId xmlns:a16="http://schemas.microsoft.com/office/drawing/2014/main" id="{42A43AE7-EBEC-4D55-827C-9F5AA3FAC1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32140" y="48518442"/>
              <a:ext cx="136525" cy="136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46029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597831-4085-4FBB-ACC0-C425FE93B1A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Back-up slides</a:t>
            </a:r>
            <a:br>
              <a:rPr lang="en-GB" dirty="0"/>
            </a:b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D0F58B7-79E6-4FC1-86F9-D818414D7E8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3113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A single graph knowledge platform to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industry knowledge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r>
              <a:rPr lang="en-GB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offering family trends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upport the client innovation agenda frameworks</a:t>
            </a:r>
          </a:p>
          <a:p>
            <a:pPr marL="625475" lvl="2" indent="-271463"/>
            <a:r>
              <a:rPr lang="en-GB" dirty="0"/>
              <a:t>Provides a dynamic canvas for account and client teams to build out innovation agenda’s</a:t>
            </a:r>
          </a:p>
          <a:p>
            <a:pPr marL="625475" lvl="2" indent="-271463"/>
            <a:r>
              <a:rPr lang="en-GB" dirty="0"/>
              <a:t>Map industry and offering trends against client strategic programs</a:t>
            </a:r>
          </a:p>
          <a:p>
            <a:pPr marL="625475" lvl="2" indent="-271463"/>
            <a:r>
              <a:rPr lang="en-GB" dirty="0"/>
              <a:t>Generate consolidated views and insights against all DXC client innovation agend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pture and present DXC’s leading industry solutions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8467328" y="1634721"/>
            <a:ext cx="5400600" cy="4960158"/>
            <a:chOff x="4434880" y="874440"/>
            <a:chExt cx="5400600" cy="4960158"/>
          </a:xfrm>
        </p:grpSpPr>
        <p:sp>
          <p:nvSpPr>
            <p:cNvPr id="4" name="Oval 3"/>
            <p:cNvSpPr/>
            <p:nvPr/>
          </p:nvSpPr>
          <p:spPr>
            <a:xfrm>
              <a:off x="5623012" y="874440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3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Disruptors</a:t>
              </a:r>
            </a:p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&amp; Trends</a:t>
              </a:r>
            </a:p>
          </p:txBody>
        </p:sp>
        <p:sp>
          <p:nvSpPr>
            <p:cNvPr id="6" name="Oval 5"/>
            <p:cNvSpPr/>
            <p:nvPr/>
          </p:nvSpPr>
          <p:spPr>
            <a:xfrm>
              <a:off x="4434880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4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4"/>
                  </a:solidFill>
                </a:rPr>
                <a:t>Innovation Agendas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6811144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5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5"/>
                  </a:solidFill>
                </a:rPr>
                <a:t>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4989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ild on collaboration </a:t>
            </a:r>
          </a:p>
        </p:txBody>
      </p:sp>
      <p:sp>
        <p:nvSpPr>
          <p:cNvPr id="100" name="Oval 99"/>
          <p:cNvSpPr/>
          <p:nvPr/>
        </p:nvSpPr>
        <p:spPr bwMode="ltGray">
          <a:xfrm>
            <a:off x="6245943" y="2890664"/>
            <a:ext cx="2304256" cy="2304256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000" b="1" dirty="0"/>
              <a:t>DXC Digital Explorer</a:t>
            </a:r>
          </a:p>
        </p:txBody>
      </p:sp>
      <p:sp>
        <p:nvSpPr>
          <p:cNvPr id="101" name="Oval 100"/>
          <p:cNvSpPr/>
          <p:nvPr/>
        </p:nvSpPr>
        <p:spPr bwMode="ltGray">
          <a:xfrm>
            <a:off x="4451348" y="2091932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Industry Trends</a:t>
            </a:r>
          </a:p>
        </p:txBody>
      </p:sp>
      <p:sp>
        <p:nvSpPr>
          <p:cNvPr id="102" name="Oval 101"/>
          <p:cNvSpPr/>
          <p:nvPr/>
        </p:nvSpPr>
        <p:spPr bwMode="ltGray">
          <a:xfrm>
            <a:off x="4492165" y="5039064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Technology Trends</a:t>
            </a:r>
          </a:p>
        </p:txBody>
      </p:sp>
      <p:sp>
        <p:nvSpPr>
          <p:cNvPr id="103" name="Oval 102"/>
          <p:cNvSpPr/>
          <p:nvPr/>
        </p:nvSpPr>
        <p:spPr bwMode="ltGray">
          <a:xfrm>
            <a:off x="6572392" y="5787673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Client Roadmaps</a:t>
            </a:r>
          </a:p>
        </p:txBody>
      </p:sp>
      <p:sp>
        <p:nvSpPr>
          <p:cNvPr id="104" name="Oval 103"/>
          <p:cNvSpPr/>
          <p:nvPr/>
        </p:nvSpPr>
        <p:spPr bwMode="ltGray">
          <a:xfrm>
            <a:off x="8708420" y="4923807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Solutions</a:t>
            </a:r>
          </a:p>
        </p:txBody>
      </p:sp>
      <p:sp>
        <p:nvSpPr>
          <p:cNvPr id="105" name="Oval 104"/>
          <p:cNvSpPr/>
          <p:nvPr/>
        </p:nvSpPr>
        <p:spPr bwMode="ltGray">
          <a:xfrm>
            <a:off x="7897055" y="707089"/>
            <a:ext cx="2099220" cy="2153522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600" b="1" dirty="0"/>
              <a:t>R&amp;D and invest insights</a:t>
            </a:r>
          </a:p>
        </p:txBody>
      </p:sp>
      <p:sp>
        <p:nvSpPr>
          <p:cNvPr id="106" name="Oval 105"/>
          <p:cNvSpPr/>
          <p:nvPr/>
        </p:nvSpPr>
        <p:spPr bwMode="ltGray">
          <a:xfrm>
            <a:off x="9176423" y="3097451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Patterns</a:t>
            </a:r>
          </a:p>
        </p:txBody>
      </p:sp>
      <p:cxnSp>
        <p:nvCxnSpPr>
          <p:cNvPr id="107" name="Straight Arrow Connector 106"/>
          <p:cNvCxnSpPr>
            <a:cxnSpLocks/>
          </p:cNvCxnSpPr>
          <p:nvPr/>
        </p:nvCxnSpPr>
        <p:spPr>
          <a:xfrm>
            <a:off x="6015058" y="3377140"/>
            <a:ext cx="230885" cy="13955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/>
          <p:cNvCxnSpPr>
            <a:cxnSpLocks/>
          </p:cNvCxnSpPr>
          <p:nvPr/>
        </p:nvCxnSpPr>
        <p:spPr>
          <a:xfrm flipV="1">
            <a:off x="6093420" y="4848688"/>
            <a:ext cx="287005" cy="22506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>
            <a:cxnSpLocks/>
          </p:cNvCxnSpPr>
          <p:nvPr/>
        </p:nvCxnSpPr>
        <p:spPr>
          <a:xfrm flipV="1">
            <a:off x="7398071" y="5280706"/>
            <a:ext cx="7429" cy="42118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/>
          <p:cNvCxnSpPr>
            <a:cxnSpLocks/>
          </p:cNvCxnSpPr>
          <p:nvPr/>
        </p:nvCxnSpPr>
        <p:spPr>
          <a:xfrm flipH="1" flipV="1">
            <a:off x="8248073" y="4961223"/>
            <a:ext cx="454649" cy="31948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/>
          <p:cNvCxnSpPr>
            <a:cxnSpLocks/>
          </p:cNvCxnSpPr>
          <p:nvPr/>
        </p:nvCxnSpPr>
        <p:spPr>
          <a:xfrm flipH="1" flipV="1">
            <a:off x="8637445" y="3890611"/>
            <a:ext cx="451732" cy="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>
            <a:cxnSpLocks/>
          </p:cNvCxnSpPr>
          <p:nvPr/>
        </p:nvCxnSpPr>
        <p:spPr>
          <a:xfrm flipV="1">
            <a:off x="8105257" y="2720553"/>
            <a:ext cx="213680" cy="32494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: Rounded Corners 112"/>
          <p:cNvSpPr/>
          <p:nvPr/>
        </p:nvSpPr>
        <p:spPr bwMode="ltGray">
          <a:xfrm>
            <a:off x="1624758" y="2228366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Marketing</a:t>
            </a:r>
          </a:p>
        </p:txBody>
      </p:sp>
      <p:sp>
        <p:nvSpPr>
          <p:cNvPr id="114" name="Rectangle: Rounded Corners 113"/>
          <p:cNvSpPr/>
          <p:nvPr/>
        </p:nvSpPr>
        <p:spPr bwMode="ltGray">
          <a:xfrm>
            <a:off x="1624944" y="482101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Technology Office</a:t>
            </a:r>
          </a:p>
        </p:txBody>
      </p:sp>
      <p:sp>
        <p:nvSpPr>
          <p:cNvPr id="115" name="Rectangle: Rounded Corners 114"/>
          <p:cNvSpPr/>
          <p:nvPr/>
        </p:nvSpPr>
        <p:spPr bwMode="ltGray">
          <a:xfrm>
            <a:off x="2201194" y="5469083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ndustry Trends</a:t>
            </a:r>
          </a:p>
        </p:txBody>
      </p:sp>
      <p:sp>
        <p:nvSpPr>
          <p:cNvPr id="116" name="Rectangle: Rounded Corners 115"/>
          <p:cNvSpPr/>
          <p:nvPr/>
        </p:nvSpPr>
        <p:spPr bwMode="ltGray">
          <a:xfrm>
            <a:off x="1625130" y="5469083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7" name="Rectangle: Rounded Corners 116"/>
          <p:cNvSpPr/>
          <p:nvPr/>
        </p:nvSpPr>
        <p:spPr bwMode="ltGray">
          <a:xfrm>
            <a:off x="2201194" y="571588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Technology Trends</a:t>
            </a:r>
          </a:p>
        </p:txBody>
      </p:sp>
      <p:sp>
        <p:nvSpPr>
          <p:cNvPr id="118" name="Rectangle: Rounded Corners 117"/>
          <p:cNvSpPr/>
          <p:nvPr/>
        </p:nvSpPr>
        <p:spPr bwMode="ltGray">
          <a:xfrm>
            <a:off x="1625130" y="571588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9" name="Rectangle: Rounded Corners 118"/>
          <p:cNvSpPr/>
          <p:nvPr/>
        </p:nvSpPr>
        <p:spPr bwMode="ltGray">
          <a:xfrm>
            <a:off x="2195936" y="6450665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R&amp;D Insights</a:t>
            </a:r>
          </a:p>
        </p:txBody>
      </p:sp>
      <p:sp>
        <p:nvSpPr>
          <p:cNvPr id="120" name="Rectangle: Rounded Corners 119"/>
          <p:cNvSpPr/>
          <p:nvPr/>
        </p:nvSpPr>
        <p:spPr bwMode="ltGray">
          <a:xfrm>
            <a:off x="1619872" y="6450665"/>
            <a:ext cx="576064" cy="252029"/>
          </a:xfrm>
          <a:prstGeom prst="round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GET</a:t>
            </a:r>
          </a:p>
        </p:txBody>
      </p:sp>
      <p:sp>
        <p:nvSpPr>
          <p:cNvPr id="121" name="Rectangle: Rounded Corners 120"/>
          <p:cNvSpPr/>
          <p:nvPr/>
        </p:nvSpPr>
        <p:spPr bwMode="ltGray">
          <a:xfrm>
            <a:off x="2200822" y="595705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Emerging Solutions</a:t>
            </a:r>
          </a:p>
        </p:txBody>
      </p:sp>
      <p:sp>
        <p:nvSpPr>
          <p:cNvPr id="122" name="Rectangle: Rounded Corners 121"/>
          <p:cNvSpPr/>
          <p:nvPr/>
        </p:nvSpPr>
        <p:spPr bwMode="ltGray">
          <a:xfrm>
            <a:off x="1624758" y="595705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23" name="Rectangle: Rounded Corners 122"/>
          <p:cNvSpPr/>
          <p:nvPr/>
        </p:nvSpPr>
        <p:spPr bwMode="ltGray">
          <a:xfrm>
            <a:off x="2200822" y="6203861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P knowledge</a:t>
            </a:r>
          </a:p>
        </p:txBody>
      </p:sp>
      <p:sp>
        <p:nvSpPr>
          <p:cNvPr id="124" name="Rectangle: Rounded Corners 123"/>
          <p:cNvSpPr/>
          <p:nvPr/>
        </p:nvSpPr>
        <p:spPr bwMode="ltGray">
          <a:xfrm>
            <a:off x="1624758" y="6203861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grpSp>
        <p:nvGrpSpPr>
          <p:cNvPr id="125" name="Group 124"/>
          <p:cNvGrpSpPr/>
          <p:nvPr/>
        </p:nvGrpSpPr>
        <p:grpSpPr>
          <a:xfrm>
            <a:off x="1624758" y="2875694"/>
            <a:ext cx="2088232" cy="739280"/>
            <a:chOff x="551384" y="1952835"/>
            <a:chExt cx="2088232" cy="739280"/>
          </a:xfrm>
        </p:grpSpPr>
        <p:sp>
          <p:nvSpPr>
            <p:cNvPr id="126" name="Rectangle: Rounded Corners 125"/>
            <p:cNvSpPr/>
            <p:nvPr/>
          </p:nvSpPr>
          <p:spPr bwMode="ltGray">
            <a:xfrm>
              <a:off x="1127448" y="1952835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Insights</a:t>
              </a:r>
            </a:p>
          </p:txBody>
        </p:sp>
        <p:sp>
          <p:nvSpPr>
            <p:cNvPr id="127" name="Rectangle: Rounded Corners 126"/>
            <p:cNvSpPr/>
            <p:nvPr/>
          </p:nvSpPr>
          <p:spPr bwMode="ltGray">
            <a:xfrm>
              <a:off x="551384" y="1952835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28" name="Rectangle: Rounded Corners 127"/>
            <p:cNvSpPr/>
            <p:nvPr/>
          </p:nvSpPr>
          <p:spPr bwMode="ltGray">
            <a:xfrm>
              <a:off x="1127448" y="220225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Summary</a:t>
              </a:r>
            </a:p>
          </p:txBody>
        </p:sp>
        <p:sp>
          <p:nvSpPr>
            <p:cNvPr id="129" name="Rectangle: Rounded Corners 128"/>
            <p:cNvSpPr/>
            <p:nvPr/>
          </p:nvSpPr>
          <p:spPr bwMode="ltGray">
            <a:xfrm>
              <a:off x="551384" y="220225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grpSp>
          <p:nvGrpSpPr>
            <p:cNvPr id="130" name="Group 129"/>
            <p:cNvGrpSpPr/>
            <p:nvPr/>
          </p:nvGrpSpPr>
          <p:grpSpPr>
            <a:xfrm>
              <a:off x="551384" y="2440086"/>
              <a:ext cx="2088232" cy="252029"/>
              <a:chOff x="551384" y="2493555"/>
              <a:chExt cx="2088232" cy="252029"/>
            </a:xfrm>
          </p:grpSpPr>
          <p:sp>
            <p:nvSpPr>
              <p:cNvPr id="131" name="Rectangle: Rounded Corners 130"/>
              <p:cNvSpPr/>
              <p:nvPr/>
            </p:nvSpPr>
            <p:spPr bwMode="ltGray">
              <a:xfrm>
                <a:off x="1127448" y="2493555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Reference Stories</a:t>
                </a:r>
              </a:p>
            </p:txBody>
          </p:sp>
          <p:sp>
            <p:nvSpPr>
              <p:cNvPr id="132" name="Rectangle: Rounded Corners 131"/>
              <p:cNvSpPr/>
              <p:nvPr/>
            </p:nvSpPr>
            <p:spPr bwMode="ltGray">
              <a:xfrm>
                <a:off x="551384" y="2493555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</p:grpSp>
      <p:sp>
        <p:nvSpPr>
          <p:cNvPr id="134" name="Rectangle: Rounded Corners 133"/>
          <p:cNvSpPr/>
          <p:nvPr/>
        </p:nvSpPr>
        <p:spPr bwMode="ltGray">
          <a:xfrm>
            <a:off x="11720821" y="1216052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Build</a:t>
            </a:r>
          </a:p>
        </p:txBody>
      </p:sp>
      <p:sp>
        <p:nvSpPr>
          <p:cNvPr id="158" name="Rectangle: Rounded Corners 157"/>
          <p:cNvSpPr/>
          <p:nvPr/>
        </p:nvSpPr>
        <p:spPr bwMode="ltGray">
          <a:xfrm>
            <a:off x="11733360" y="5579813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Deliver</a:t>
            </a:r>
          </a:p>
        </p:txBody>
      </p:sp>
      <p:grpSp>
        <p:nvGrpSpPr>
          <p:cNvPr id="159" name="Group 158"/>
          <p:cNvGrpSpPr/>
          <p:nvPr/>
        </p:nvGrpSpPr>
        <p:grpSpPr>
          <a:xfrm>
            <a:off x="11733360" y="6227885"/>
            <a:ext cx="2088232" cy="756087"/>
            <a:chOff x="9126686" y="5915567"/>
            <a:chExt cx="2088232" cy="756087"/>
          </a:xfrm>
        </p:grpSpPr>
        <p:grpSp>
          <p:nvGrpSpPr>
            <p:cNvPr id="160" name="Group 159"/>
            <p:cNvGrpSpPr/>
            <p:nvPr/>
          </p:nvGrpSpPr>
          <p:grpSpPr>
            <a:xfrm>
              <a:off x="9126686" y="5915567"/>
              <a:ext cx="2088232" cy="252029"/>
              <a:chOff x="9096700" y="5647557"/>
              <a:chExt cx="2088232" cy="252029"/>
            </a:xfrm>
          </p:grpSpPr>
          <p:sp>
            <p:nvSpPr>
              <p:cNvPr id="167" name="Rectangle: Rounded Corners 16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Industry Trends</a:t>
                </a:r>
              </a:p>
            </p:txBody>
          </p:sp>
          <p:sp>
            <p:nvSpPr>
              <p:cNvPr id="168" name="Rectangle: Rounded Corners 16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1" name="Group 160"/>
            <p:cNvGrpSpPr/>
            <p:nvPr/>
          </p:nvGrpSpPr>
          <p:grpSpPr>
            <a:xfrm>
              <a:off x="9126686" y="6167596"/>
              <a:ext cx="2088232" cy="252029"/>
              <a:chOff x="9096700" y="5647557"/>
              <a:chExt cx="2088232" cy="252029"/>
            </a:xfrm>
          </p:grpSpPr>
          <p:sp>
            <p:nvSpPr>
              <p:cNvPr id="165" name="Rectangle: Rounded Corners 164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Operational Efficiency</a:t>
                </a:r>
              </a:p>
            </p:txBody>
          </p:sp>
          <p:sp>
            <p:nvSpPr>
              <p:cNvPr id="166" name="Rectangle: Rounded Corners 165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2" name="Group 161"/>
            <p:cNvGrpSpPr/>
            <p:nvPr/>
          </p:nvGrpSpPr>
          <p:grpSpPr>
            <a:xfrm>
              <a:off x="9126686" y="6419625"/>
              <a:ext cx="2088232" cy="252029"/>
              <a:chOff x="9096700" y="5647557"/>
              <a:chExt cx="2088232" cy="252029"/>
            </a:xfrm>
          </p:grpSpPr>
          <p:sp>
            <p:nvSpPr>
              <p:cNvPr id="163" name="Rectangle: Rounded Corners 162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64" name="Rectangle: Rounded Corners 163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</p:grpSp>
      <p:grpSp>
        <p:nvGrpSpPr>
          <p:cNvPr id="136" name="Group 135"/>
          <p:cNvGrpSpPr/>
          <p:nvPr/>
        </p:nvGrpSpPr>
        <p:grpSpPr>
          <a:xfrm>
            <a:off x="11717646" y="1855947"/>
            <a:ext cx="2094582" cy="1013453"/>
            <a:chOff x="9120336" y="1261277"/>
            <a:chExt cx="2094582" cy="1013453"/>
          </a:xfrm>
        </p:grpSpPr>
        <p:grpSp>
          <p:nvGrpSpPr>
            <p:cNvPr id="149" name="Group 148"/>
            <p:cNvGrpSpPr/>
            <p:nvPr/>
          </p:nvGrpSpPr>
          <p:grpSpPr>
            <a:xfrm>
              <a:off x="9123511" y="1261277"/>
              <a:ext cx="2088232" cy="252029"/>
              <a:chOff x="9126686" y="1261277"/>
              <a:chExt cx="2088232" cy="252029"/>
            </a:xfrm>
          </p:grpSpPr>
          <p:sp>
            <p:nvSpPr>
              <p:cNvPr id="156" name="Rectangle: Rounded Corners 155"/>
              <p:cNvSpPr/>
              <p:nvPr/>
            </p:nvSpPr>
            <p:spPr bwMode="ltGray">
              <a:xfrm>
                <a:off x="9702750" y="126127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POR direction</a:t>
                </a:r>
              </a:p>
            </p:txBody>
          </p:sp>
          <p:sp>
            <p:nvSpPr>
              <p:cNvPr id="157" name="Rectangle: Rounded Corners 156"/>
              <p:cNvSpPr/>
              <p:nvPr/>
            </p:nvSpPr>
            <p:spPr bwMode="ltGray">
              <a:xfrm>
                <a:off x="9126686" y="126127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sp>
          <p:nvSpPr>
            <p:cNvPr id="150" name="Rectangle: Rounded Corners 149"/>
            <p:cNvSpPr/>
            <p:nvPr/>
          </p:nvSpPr>
          <p:spPr bwMode="ltGray">
            <a:xfrm>
              <a:off x="9699575" y="151858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51" name="Rectangle: Rounded Corners 150"/>
            <p:cNvSpPr/>
            <p:nvPr/>
          </p:nvSpPr>
          <p:spPr bwMode="ltGray">
            <a:xfrm>
              <a:off x="9123511" y="151858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2" name="Rectangle: Rounded Corners 151"/>
            <p:cNvSpPr/>
            <p:nvPr/>
          </p:nvSpPr>
          <p:spPr bwMode="ltGray">
            <a:xfrm>
              <a:off x="9696400" y="177589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Technology Trends</a:t>
              </a:r>
            </a:p>
          </p:txBody>
        </p:sp>
        <p:sp>
          <p:nvSpPr>
            <p:cNvPr id="153" name="Rectangle: Rounded Corners 152"/>
            <p:cNvSpPr/>
            <p:nvPr/>
          </p:nvSpPr>
          <p:spPr bwMode="ltGray">
            <a:xfrm>
              <a:off x="9120336" y="177589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4" name="Rectangle: Rounded Corners 153"/>
            <p:cNvSpPr/>
            <p:nvPr/>
          </p:nvSpPr>
          <p:spPr bwMode="ltGray">
            <a:xfrm>
              <a:off x="9702750" y="202270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Patterns</a:t>
              </a:r>
            </a:p>
          </p:txBody>
        </p:sp>
        <p:sp>
          <p:nvSpPr>
            <p:cNvPr id="155" name="Rectangle: Rounded Corners 154"/>
            <p:cNvSpPr/>
            <p:nvPr/>
          </p:nvSpPr>
          <p:spPr bwMode="ltGray">
            <a:xfrm>
              <a:off x="9126686" y="202270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</p:grpSp>
      <p:sp>
        <p:nvSpPr>
          <p:cNvPr id="138" name="Rectangle: Rounded Corners 137"/>
          <p:cNvSpPr/>
          <p:nvPr/>
        </p:nvSpPr>
        <p:spPr bwMode="ltGray">
          <a:xfrm>
            <a:off x="11720821" y="319266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Sell</a:t>
            </a:r>
          </a:p>
        </p:txBody>
      </p:sp>
      <p:grpSp>
        <p:nvGrpSpPr>
          <p:cNvPr id="139" name="Group 138"/>
          <p:cNvGrpSpPr/>
          <p:nvPr/>
        </p:nvGrpSpPr>
        <p:grpSpPr>
          <a:xfrm>
            <a:off x="11717646" y="3839837"/>
            <a:ext cx="2094582" cy="1014842"/>
            <a:chOff x="9120336" y="3793657"/>
            <a:chExt cx="2094582" cy="1014842"/>
          </a:xfrm>
        </p:grpSpPr>
        <p:sp>
          <p:nvSpPr>
            <p:cNvPr id="140" name="Rectangle: Rounded Corners 139"/>
            <p:cNvSpPr/>
            <p:nvPr/>
          </p:nvSpPr>
          <p:spPr bwMode="ltGray">
            <a:xfrm>
              <a:off x="9696400" y="379365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41" name="Rectangle: Rounded Corners 140"/>
            <p:cNvSpPr/>
            <p:nvPr/>
          </p:nvSpPr>
          <p:spPr bwMode="ltGray">
            <a:xfrm>
              <a:off x="9120336" y="3793657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sp>
          <p:nvSpPr>
            <p:cNvPr id="142" name="Rectangle: Rounded Corners 141"/>
            <p:cNvSpPr/>
            <p:nvPr/>
          </p:nvSpPr>
          <p:spPr bwMode="ltGray">
            <a:xfrm>
              <a:off x="9702750" y="430444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Client Roadmaps</a:t>
              </a:r>
            </a:p>
          </p:txBody>
        </p:sp>
        <p:sp>
          <p:nvSpPr>
            <p:cNvPr id="143" name="Rectangle: Rounded Corners 142"/>
            <p:cNvSpPr/>
            <p:nvPr/>
          </p:nvSpPr>
          <p:spPr bwMode="ltGray">
            <a:xfrm>
              <a:off x="9126686" y="430444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grpSp>
          <p:nvGrpSpPr>
            <p:cNvPr id="144" name="Group 143"/>
            <p:cNvGrpSpPr/>
            <p:nvPr/>
          </p:nvGrpSpPr>
          <p:grpSpPr>
            <a:xfrm>
              <a:off x="9126686" y="4556470"/>
              <a:ext cx="2088232" cy="252029"/>
              <a:chOff x="9096700" y="5647557"/>
              <a:chExt cx="2088232" cy="252029"/>
            </a:xfrm>
          </p:grpSpPr>
          <p:sp>
            <p:nvSpPr>
              <p:cNvPr id="147" name="Rectangle: Rounded Corners 14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48" name="Rectangle: Rounded Corners 14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  <p:sp>
          <p:nvSpPr>
            <p:cNvPr id="145" name="Rectangle: Rounded Corners 144"/>
            <p:cNvSpPr/>
            <p:nvPr/>
          </p:nvSpPr>
          <p:spPr bwMode="ltGray">
            <a:xfrm>
              <a:off x="9700418" y="405241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Operational Efficiency</a:t>
              </a:r>
            </a:p>
          </p:txBody>
        </p:sp>
        <p:sp>
          <p:nvSpPr>
            <p:cNvPr id="146" name="Rectangle: Rounded Corners 145"/>
            <p:cNvSpPr/>
            <p:nvPr/>
          </p:nvSpPr>
          <p:spPr bwMode="ltGray">
            <a:xfrm>
              <a:off x="9124354" y="405241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42293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9A2300-6E29-4256-ACD2-6F6D99577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igital Explorer is the Enterprise</a:t>
            </a:r>
            <a:br>
              <a:rPr lang="en-US" dirty="0"/>
            </a:br>
            <a:r>
              <a:rPr lang="en-US" dirty="0"/>
              <a:t>Knowledge Graph for DXC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757EF1-296E-476E-BA25-4E02C326AF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5"/>
          </a:xfrm>
        </p:spPr>
        <p:txBody>
          <a:bodyPr>
            <a:normAutofit/>
          </a:bodyPr>
          <a:lstStyle/>
          <a:p>
            <a:r>
              <a:rPr lang="en-US" b="0" dirty="0"/>
              <a:t>Informing us about the needs of our existing and future clients through the </a:t>
            </a:r>
            <a:r>
              <a:rPr lang="en-US" dirty="0"/>
              <a:t>Trends</a:t>
            </a:r>
            <a:r>
              <a:rPr lang="en-US" b="0" dirty="0"/>
              <a:t> &amp; </a:t>
            </a:r>
            <a:r>
              <a:rPr lang="en-US" dirty="0"/>
              <a:t>Agendas </a:t>
            </a:r>
            <a:r>
              <a:rPr lang="en-US" b="0" dirty="0"/>
              <a:t>modules</a:t>
            </a:r>
          </a:p>
          <a:p>
            <a:pPr lvl="1"/>
            <a:r>
              <a:rPr lang="en-US" b="0" dirty="0"/>
              <a:t>Providing Industry views of business and technology trends which help frame conversations with our clients</a:t>
            </a:r>
          </a:p>
          <a:p>
            <a:pPr lvl="1"/>
            <a:r>
              <a:rPr lang="en-US" b="1" dirty="0"/>
              <a:t>Digital Roadmaps </a:t>
            </a:r>
            <a:r>
              <a:rPr lang="en-US" b="0" dirty="0"/>
              <a:t>drive the client towards the right goal</a:t>
            </a:r>
          </a:p>
          <a:p>
            <a:pPr lvl="2"/>
            <a:r>
              <a:rPr lang="en-US" b="0" dirty="0"/>
              <a:t>Providing a structured approach to understand the relevant trends and enablers to identify strategic digital projects with the client</a:t>
            </a:r>
          </a:p>
          <a:p>
            <a:pPr lvl="2"/>
            <a:r>
              <a:rPr lang="en-US" b="0" dirty="0"/>
              <a:t>Providing DXC outside-in information on demand signals to directly influence the offering IRBs and our partner conversations</a:t>
            </a:r>
          </a:p>
          <a:p>
            <a:endParaRPr lang="en-US" b="0" dirty="0"/>
          </a:p>
          <a:p>
            <a:r>
              <a:rPr lang="en-US" b="0" dirty="0"/>
              <a:t>Shows evidence of our integrated solutions across build, sell and delivery through the </a:t>
            </a:r>
            <a:r>
              <a:rPr lang="en-US" dirty="0"/>
              <a:t>Solutions</a:t>
            </a:r>
            <a:r>
              <a:rPr lang="en-US" b="0" dirty="0"/>
              <a:t> module.</a:t>
            </a:r>
          </a:p>
          <a:p>
            <a:pPr lvl="1"/>
            <a:r>
              <a:rPr lang="en-US" b="0" dirty="0"/>
              <a:t>Solutions can include both internal and partner capabilities</a:t>
            </a:r>
          </a:p>
        </p:txBody>
      </p:sp>
    </p:spTree>
    <p:extLst>
      <p:ext uri="{BB962C8B-B14F-4D97-AF65-F5344CB8AC3E}">
        <p14:creationId xmlns:p14="http://schemas.microsoft.com/office/powerpoint/2010/main" val="415504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23F8E5-BD6F-417F-82B8-14FF7F1C38E3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Understand : </a:t>
            </a:r>
            <a:br>
              <a:rPr lang="en-GB" dirty="0"/>
            </a:br>
            <a:r>
              <a:rPr lang="en-GB" sz="3600" dirty="0"/>
              <a:t>Industry and Technology trend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GB" dirty="0"/>
              <a:t>Industry and technology trends presented in a consistent way:</a:t>
            </a:r>
          </a:p>
          <a:p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ndustry &gt; Sub Industry &gt; Business Area &gt; Tre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Trends mapped against the XTECH timeline </a:t>
            </a:r>
            <a:br>
              <a:rPr lang="en-GB" dirty="0"/>
            </a:br>
            <a:r>
              <a:rPr lang="en-GB" sz="1400" b="0" dirty="0"/>
              <a:t>(R&amp;D, leading edge, early</a:t>
            </a:r>
            <a:r>
              <a:rPr lang="en-GB" sz="1400" b="0" dirty="0">
                <a:sym typeface="Wingdings" panose="05000000000000000000" pitchFamily="2" charset="2"/>
              </a:rPr>
              <a:t> adopters</a:t>
            </a:r>
            <a:r>
              <a:rPr lang="en-GB" sz="1400" b="0" dirty="0"/>
              <a:t>, mainstream, </a:t>
            </a:r>
            <a:r>
              <a:rPr lang="en-GB" sz="1400" b="0" dirty="0">
                <a:sym typeface="Wingdings" panose="05000000000000000000" pitchFamily="2" charset="2"/>
              </a:rPr>
              <a:t>late adopters)</a:t>
            </a:r>
            <a:endParaRPr lang="en-GB" sz="1800" b="0" dirty="0"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Understand cross industry referen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Ability to search for potential solu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en collaboration module for all DXC employe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tion to export to PDF</a:t>
            </a:r>
          </a:p>
          <a:p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A586D8E-1FA3-4A2D-9693-E7C01E8149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3232" y="217538"/>
            <a:ext cx="6696744" cy="367972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BEA65F-A076-43BF-9C2A-E6FDBE129D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3232" y="4042791"/>
            <a:ext cx="6696744" cy="3850627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37654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rends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291846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733007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8949566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1576227">
                  <a:extLst>
                    <a:ext uri="{9D8B030D-6E8A-4147-A177-3AD203B41FA5}">
                      <a16:colId xmlns:a16="http://schemas.microsoft.com/office/drawing/2014/main" val="10883866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Industr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industry use cases mapped out against a maturity model, grouped by a set of common areas across all industries - ability to build cross relationships between indust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2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Technolog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technology trends mapped out against a maturity model - grouped by technology area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3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Open collabora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Add/edit trends is open to all DXC employe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4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Digital Sto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Quick links and highlights from within Digital Explorer and external sources (key trends, showcase solutions, relevant paper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5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Trend on a page view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Consolidated view of a single trend - industry use cases, demand curve, solutions, contributions (trends and solution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dirty="0">
                          <a:hlinkClick r:id="rId6"/>
                        </a:rPr>
                        <a:t>Example Link</a:t>
                      </a:r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</a:t>
                      </a:r>
                      <a:r>
                        <a:rPr lang="en-US" sz="14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st, 5th and 10th Trends, industry and technology achievements</a:t>
                      </a:r>
                      <a:endParaRPr lang="en-US" sz="1400" b="1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457623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64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0751D29-8F54-48CA-9E93-C33A1A76C8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A47E13A-1B4E-46C6-BB01-D537512A5D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19944" y="106298"/>
            <a:ext cx="6905711" cy="381215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Roadmap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nvas to shape and create account </a:t>
            </a:r>
            <a:r>
              <a:rPr lang="en-GB" u="sng" dirty="0"/>
              <a:t>Digital Roadmaps (T-Maps, Innovation Agenda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Leverage industry and technology knowled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dentify client and DXC focus are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iscover matching DXC Solutions and Reference Architectu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nsolidate and report across all accounts</a:t>
            </a:r>
          </a:p>
          <a:p>
            <a:pPr marL="536575" lvl="1" indent="-273050">
              <a:buFont typeface="Arial" panose="020B0604020202020204" pitchFamily="34" charset="0"/>
              <a:buChar char="•"/>
            </a:pPr>
            <a:r>
              <a:rPr lang="en-GB" dirty="0"/>
              <a:t>In the application or export to your own reporting too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5289D3-9854-4830-8727-558B7B2037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7208" y="4834880"/>
            <a:ext cx="5895210" cy="32884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BB7A073-AB5A-4E43-B91B-57620DA36C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8344" y="2263197"/>
            <a:ext cx="6529684" cy="401303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84552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oadmaps : Key featur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508762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376619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9492606">
                  <a:extLst>
                    <a:ext uri="{9D8B030D-6E8A-4147-A177-3AD203B41FA5}">
                      <a16:colId xmlns:a16="http://schemas.microsoft.com/office/drawing/2014/main" val="9865709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Internal Programs and group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reate internal groups to assign accounts - track progress of the creation of the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89352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dustry template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llow users to create and re-use any available templates for their client innovation agend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018158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Client Strategic goa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Capture client strategic goals as they relate to the innovation agenda (</a:t>
                      </a:r>
                      <a:r>
                        <a:rPr lang="en-US" sz="1400" b="0" dirty="0" err="1">
                          <a:effectLst/>
                        </a:rPr>
                        <a:t>incs</a:t>
                      </a:r>
                      <a:r>
                        <a:rPr lang="en-US" sz="1400" b="0" dirty="0">
                          <a:effectLst/>
                        </a:rPr>
                        <a:t> KPI'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Client disruptors, focus areas, risk and innovation leve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apture key information about each entry within the Sunray diagram and how they impact the client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Recommendation engin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Smart look-up for similar disruptors from all other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novation Sunray diagra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active creation and presentation of the innovation sunray diagram (sometime referred to as the T-Map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ccount focus are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Final output of the innovation agenda - selection of focus disruptors and the definition of the account's strategic initiatives (planned connect the related client goals as well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3608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DXC Solution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Dynamic list of available DXC solution based on the disruptors within the innovation agenda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87122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Export to PDF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Export innovation agenda to PDF fil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63091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genda Insigh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Heatmap reports across all Agendas (group by region or industry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08039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3 achievements available (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roadmap, helping hands (create a template), taking the next steps (capture idea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1373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i="1" dirty="0">
                          <a:effectLst/>
                        </a:rPr>
                        <a:t>Role : Agenda Manager</a:t>
                      </a:r>
                      <a:endParaRPr lang="en-GB" sz="1400" b="0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nal role - assign people to accounts, create internal program groups and review all agendas within the syste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340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555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D449D7A-BCC0-44B5-94A6-0BE9FA04475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7997552" cy="5121276"/>
          </a:xfrm>
        </p:spPr>
        <p:txBody>
          <a:bodyPr/>
          <a:lstStyle/>
          <a:p>
            <a:r>
              <a:rPr lang="en-GB" dirty="0"/>
              <a:t>David Steve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DXC Distinguished Architec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Creator, Product Owner and Architect for DXC Digital Explor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Based in the UK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C5D0889-6F62-4392-9B2C-C8DF0E20A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bout m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07F23BA-605A-4F91-9E90-EAF746ACE17B}"/>
              </a:ext>
            </a:extLst>
          </p:cNvPr>
          <p:cNvGrpSpPr/>
          <p:nvPr/>
        </p:nvGrpSpPr>
        <p:grpSpPr>
          <a:xfrm>
            <a:off x="1050504" y="4470561"/>
            <a:ext cx="1616942" cy="432048"/>
            <a:chOff x="906489" y="4470561"/>
            <a:chExt cx="1616942" cy="432048"/>
          </a:xfrm>
        </p:grpSpPr>
        <p:pic>
          <p:nvPicPr>
            <p:cNvPr id="3074" name="Picture 2" descr="Image result for linkedin icon">
              <a:hlinkClick r:id="rId2"/>
              <a:extLst>
                <a:ext uri="{FF2B5EF4-FFF2-40B4-BE49-F238E27FC236}">
                  <a16:creationId xmlns:a16="http://schemas.microsoft.com/office/drawing/2014/main" id="{6A66F061-E06D-483C-A565-3C2A76B04E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6489" y="4470561"/>
              <a:ext cx="432048" cy="4320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6" name="Picture 4" descr="Image result for twitter icon">
              <a:hlinkClick r:id="rId4"/>
              <a:extLst>
                <a:ext uri="{FF2B5EF4-FFF2-40B4-BE49-F238E27FC236}">
                  <a16:creationId xmlns:a16="http://schemas.microsoft.com/office/drawing/2014/main" id="{C7BDED7F-1C80-445D-95DB-26085F65C30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98936" y="4470561"/>
              <a:ext cx="432048" cy="4320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8" name="Picture 6" descr="Image result for instagram icon">
              <a:hlinkClick r:id="rId6"/>
              <a:extLst>
                <a:ext uri="{FF2B5EF4-FFF2-40B4-BE49-F238E27FC236}">
                  <a16:creationId xmlns:a16="http://schemas.microsoft.com/office/drawing/2014/main" id="{45BCC8AA-E5CB-4122-B126-EC5ADBED25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91383" y="4470561"/>
              <a:ext cx="432048" cy="4320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" name="Picture 2">
            <a:hlinkClick r:id="rId8"/>
            <a:extLst>
              <a:ext uri="{FF2B5EF4-FFF2-40B4-BE49-F238E27FC236}">
                <a16:creationId xmlns:a16="http://schemas.microsoft.com/office/drawing/2014/main" id="{D3DBC118-6E50-46EB-B91A-1D6100340511}"/>
              </a:ext>
            </a:extLst>
          </p:cNvPr>
          <p:cNvPicPr>
            <a:picLocks noChangeAspect="1"/>
          </p:cNvPicPr>
          <p:nvPr/>
        </p:nvPicPr>
        <p:blipFill>
          <a:blip r:embed="rId9">
            <a:biLevel thresh="75000"/>
          </a:blip>
          <a:stretch>
            <a:fillRect/>
          </a:stretch>
        </p:blipFill>
        <p:spPr>
          <a:xfrm>
            <a:off x="2827845" y="4470561"/>
            <a:ext cx="432048" cy="43204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9ED6144-A4EA-4CD6-9D6B-9FDF92F308A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59775" y="2055811"/>
            <a:ext cx="3368849" cy="3561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955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00F67B1-D133-4583-84F6-991ECDC9E542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Workspaces</a:t>
            </a:r>
            <a:endParaRPr lang="en-GB" sz="360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llaborate  and build project or engagement workspaces leveraging content from across the Digital Explorer platfo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dd notes and attach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hare and invite your team </a:t>
            </a:r>
          </a:p>
          <a:p>
            <a:pPr lvl="1"/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570638E-037E-4EBA-8E96-6480BCA756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6440" y="2280761"/>
            <a:ext cx="6681888" cy="3668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37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C49853D-629F-4214-81B0-37A1DD8F8B9B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/>
              <a:t>Digital Explorer | Solutio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odel aligned to Archimate 2.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Each solution presented against a common datasheet and taxonomy: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Model based represent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Architecture view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upports Reference Architectures and Solution definition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Build connections to the business and technology trend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Define solutions from a library of existing </a:t>
            </a:r>
            <a:r>
              <a:rPr lang="en-GB" b="1" i="1" dirty="0"/>
              <a:t>featur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clude documentation &amp; media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olution Contact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dustry and offering family information</a:t>
            </a:r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780810-82E8-411E-A1CD-D3D23C24A5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5320" y="254921"/>
            <a:ext cx="6101896" cy="320667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6F765C6-1D58-4F43-BC3F-71AA546AF5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9216" y="1868552"/>
            <a:ext cx="6753487" cy="381642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0686A89-EBBF-4680-9F78-F02DC92F3B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0128" y="4528775"/>
            <a:ext cx="6307088" cy="344590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24344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olution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407924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452936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1080586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 b="0" dirty="0">
                          <a:effectLst/>
                        </a:rPr>
                        <a:t>Solution Typ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effectLst/>
                        </a:rPr>
                        <a:t>Ability to create various types of solutions (demos, prototypes, pilot, labs, production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Business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Highest level within the solution model, smart look-up into "trends" (business and technology) and option to create new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DXC Offering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DXC offerings (sub-offering level)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Partner capabilit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partner capabilities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metho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methods were used to develop/deliver the solution (e.g. Agile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Other Featur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any other features within the solution (e.g. datasets, opensource component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65266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Rol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Define the team and their roles within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8383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media and attachment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Option to add any supporting media to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559937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Tag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Free form tags to allow users to group or identify solutions (e.g. "Tech Excellence Winners 2018"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45049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Solution, industry achievements, partner achievements, innovator 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1571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i="1" dirty="0">
                          <a:effectLst/>
                        </a:rPr>
                        <a:t>Role : Solution Reviewer</a:t>
                      </a:r>
                      <a:endParaRPr lang="en-GB" sz="120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Internal Role - data quality reports and ability to edit any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584327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536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17130418-9500-4D70-931E-EBF01D6AD376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plore : Graph Explorer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Visually rich application to view trend and solution inform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relationships between solutions, trends and industries </a:t>
            </a:r>
            <a:r>
              <a:rPr lang="en-GB" baseline="30000" dirty="0"/>
              <a:t>(1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disruptor information across industries</a:t>
            </a:r>
            <a:r>
              <a:rPr lang="en-GB" baseline="30000" dirty="0"/>
              <a:t> (2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Group by industry, technology groups or offerings familie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Understand the depth of knowledge of our people </a:t>
            </a:r>
            <a:r>
              <a:rPr lang="en-GB" baseline="30000" dirty="0"/>
              <a:t>(3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View the most connected trends </a:t>
            </a:r>
            <a:endParaRPr lang="en-GB" baseline="3000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1224" y="129026"/>
            <a:ext cx="5677666" cy="3193686"/>
          </a:xfrm>
          <a:prstGeom prst="rect">
            <a:avLst/>
          </a:prstGeom>
        </p:spPr>
      </p:pic>
      <p:sp>
        <p:nvSpPr>
          <p:cNvPr id="17" name="Oval 16"/>
          <p:cNvSpPr/>
          <p:nvPr/>
        </p:nvSpPr>
        <p:spPr>
          <a:xfrm>
            <a:off x="7639583" y="327815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1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27FEA4A-DB66-4362-A654-5615107B92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635" t="14276" r="20922" b="13310"/>
          <a:stretch/>
        </p:blipFill>
        <p:spPr>
          <a:xfrm>
            <a:off x="8452567" y="2379648"/>
            <a:ext cx="5792729" cy="394391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8" name="Oval 17"/>
          <p:cNvSpPr/>
          <p:nvPr/>
        </p:nvSpPr>
        <p:spPr>
          <a:xfrm>
            <a:off x="13733125" y="2536960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DB8FFCF-1131-49CB-90A3-C4279F991A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9603" y="4623022"/>
            <a:ext cx="6201689" cy="3407699"/>
          </a:xfrm>
          <a:prstGeom prst="rect">
            <a:avLst/>
          </a:prstGeom>
        </p:spPr>
      </p:pic>
      <p:sp>
        <p:nvSpPr>
          <p:cNvPr id="19" name="Oval 18"/>
          <p:cNvSpPr/>
          <p:nvPr/>
        </p:nvSpPr>
        <p:spPr>
          <a:xfrm>
            <a:off x="7979029" y="4880857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58864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98DD4F-A9C0-45C2-9F53-AF89C4304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re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CAD7D8-B132-4405-9224-1CC95307D6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800" dirty="0">
                <a:hlinkClick r:id="rId2"/>
              </a:rPr>
              <a:t>DXC Digital Explorer Site</a:t>
            </a:r>
            <a:endParaRPr lang="en-GB" sz="2800" dirty="0"/>
          </a:p>
          <a:p>
            <a:r>
              <a:rPr lang="en-GB" sz="2800" dirty="0">
                <a:hlinkClick r:id="rId3"/>
              </a:rPr>
              <a:t>DXC Digital Explorer TV </a:t>
            </a:r>
            <a:r>
              <a:rPr lang="en-GB" sz="2800" dirty="0"/>
              <a:t>– overview, training and release videos</a:t>
            </a:r>
          </a:p>
          <a:p>
            <a:r>
              <a:rPr lang="en-GB" sz="2800" dirty="0">
                <a:hlinkClick r:id="rId4"/>
              </a:rPr>
              <a:t>DXC Workplace group</a:t>
            </a:r>
            <a:r>
              <a:rPr lang="en-GB" sz="2800" dirty="0"/>
              <a:t> – general discussions</a:t>
            </a:r>
          </a:p>
          <a:p>
            <a:r>
              <a:rPr lang="en-GB" sz="2800" dirty="0">
                <a:hlinkClick r:id="rId5"/>
              </a:rPr>
              <a:t>DXC GitHub </a:t>
            </a:r>
            <a:r>
              <a:rPr lang="en-GB" sz="2800" dirty="0"/>
              <a:t>– issues and enhancement requests</a:t>
            </a:r>
          </a:p>
          <a:p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76399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E2D88B88-EB87-450B-9B8B-2468F02D6EAD}"/>
              </a:ext>
            </a:extLst>
          </p:cNvPr>
          <p:cNvGrpSpPr/>
          <p:nvPr/>
        </p:nvGrpSpPr>
        <p:grpSpPr>
          <a:xfrm>
            <a:off x="4538069" y="1307084"/>
            <a:ext cx="1825482" cy="1825482"/>
            <a:chOff x="8373533" y="48106486"/>
            <a:chExt cx="822325" cy="822325"/>
          </a:xfrm>
          <a:solidFill>
            <a:schemeClr val="accent5"/>
          </a:solidFill>
        </p:grpSpPr>
        <p:sp>
          <p:nvSpPr>
            <p:cNvPr id="83" name="Freeform 74">
              <a:extLst>
                <a:ext uri="{FF2B5EF4-FFF2-40B4-BE49-F238E27FC236}">
                  <a16:creationId xmlns:a16="http://schemas.microsoft.com/office/drawing/2014/main" id="{3AEF8C74-EB68-4B88-9C22-AA4C03B78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3533" y="48243011"/>
              <a:ext cx="685800" cy="685800"/>
            </a:xfrm>
            <a:custGeom>
              <a:avLst/>
              <a:gdLst>
                <a:gd name="T0" fmla="*/ 480 w 960"/>
                <a:gd name="T1" fmla="*/ 768 h 960"/>
                <a:gd name="T2" fmla="*/ 768 w 960"/>
                <a:gd name="T3" fmla="*/ 480 h 960"/>
                <a:gd name="T4" fmla="*/ 960 w 960"/>
                <a:gd name="T5" fmla="*/ 480 h 960"/>
                <a:gd name="T6" fmla="*/ 480 w 960"/>
                <a:gd name="T7" fmla="*/ 960 h 960"/>
                <a:gd name="T8" fmla="*/ 0 w 960"/>
                <a:gd name="T9" fmla="*/ 480 h 960"/>
                <a:gd name="T10" fmla="*/ 480 w 960"/>
                <a:gd name="T11" fmla="*/ 0 h 960"/>
                <a:gd name="T12" fmla="*/ 480 w 960"/>
                <a:gd name="T13" fmla="*/ 192 h 960"/>
                <a:gd name="T14" fmla="*/ 192 w 960"/>
                <a:gd name="T15" fmla="*/ 480 h 960"/>
                <a:gd name="T16" fmla="*/ 480 w 960"/>
                <a:gd name="T17" fmla="*/ 768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0" h="960">
                  <a:moveTo>
                    <a:pt x="480" y="768"/>
                  </a:moveTo>
                  <a:cubicBezTo>
                    <a:pt x="639" y="768"/>
                    <a:pt x="768" y="639"/>
                    <a:pt x="768" y="480"/>
                  </a:cubicBezTo>
                  <a:cubicBezTo>
                    <a:pt x="960" y="480"/>
                    <a:pt x="960" y="480"/>
                    <a:pt x="960" y="480"/>
                  </a:cubicBezTo>
                  <a:cubicBezTo>
                    <a:pt x="960" y="745"/>
                    <a:pt x="745" y="960"/>
                    <a:pt x="480" y="960"/>
                  </a:cubicBezTo>
                  <a:cubicBezTo>
                    <a:pt x="215" y="960"/>
                    <a:pt x="0" y="745"/>
                    <a:pt x="0" y="480"/>
                  </a:cubicBezTo>
                  <a:cubicBezTo>
                    <a:pt x="0" y="215"/>
                    <a:pt x="215" y="0"/>
                    <a:pt x="480" y="0"/>
                  </a:cubicBezTo>
                  <a:cubicBezTo>
                    <a:pt x="480" y="192"/>
                    <a:pt x="480" y="192"/>
                    <a:pt x="480" y="192"/>
                  </a:cubicBezTo>
                  <a:cubicBezTo>
                    <a:pt x="321" y="192"/>
                    <a:pt x="192" y="321"/>
                    <a:pt x="192" y="480"/>
                  </a:cubicBezTo>
                  <a:cubicBezTo>
                    <a:pt x="192" y="639"/>
                    <a:pt x="321" y="768"/>
                    <a:pt x="480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 75">
              <a:extLst>
                <a:ext uri="{FF2B5EF4-FFF2-40B4-BE49-F238E27FC236}">
                  <a16:creationId xmlns:a16="http://schemas.microsoft.com/office/drawing/2014/main" id="{3280DDCB-2F60-4BDC-B66E-7482245E70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2958" y="48106486"/>
              <a:ext cx="342900" cy="342900"/>
            </a:xfrm>
            <a:custGeom>
              <a:avLst/>
              <a:gdLst>
                <a:gd name="T0" fmla="*/ 0 w 480"/>
                <a:gd name="T1" fmla="*/ 0 h 480"/>
                <a:gd name="T2" fmla="*/ 0 w 480"/>
                <a:gd name="T3" fmla="*/ 192 h 480"/>
                <a:gd name="T4" fmla="*/ 288 w 480"/>
                <a:gd name="T5" fmla="*/ 480 h 480"/>
                <a:gd name="T6" fmla="*/ 480 w 480"/>
                <a:gd name="T7" fmla="*/ 480 h 480"/>
                <a:gd name="T8" fmla="*/ 0 w 480"/>
                <a:gd name="T9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0" h="480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59" y="192"/>
                    <a:pt x="288" y="321"/>
                    <a:pt x="288" y="480"/>
                  </a:cubicBezTo>
                  <a:cubicBezTo>
                    <a:pt x="480" y="480"/>
                    <a:pt x="480" y="480"/>
                    <a:pt x="480" y="480"/>
                  </a:cubicBezTo>
                  <a:cubicBezTo>
                    <a:pt x="480" y="215"/>
                    <a:pt x="265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Oval 76">
              <a:extLst>
                <a:ext uri="{FF2B5EF4-FFF2-40B4-BE49-F238E27FC236}">
                  <a16:creationId xmlns:a16="http://schemas.microsoft.com/office/drawing/2014/main" id="{504758E2-D5B9-4780-976D-700733759D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48171" y="48517649"/>
              <a:ext cx="136525" cy="136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0" name="Freeform 58">
            <a:extLst>
              <a:ext uri="{FF2B5EF4-FFF2-40B4-BE49-F238E27FC236}">
                <a16:creationId xmlns:a16="http://schemas.microsoft.com/office/drawing/2014/main" id="{E74ABD01-0570-456D-A8E8-45DF7A6B7F3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103914" y="1604716"/>
            <a:ext cx="1341343" cy="1230218"/>
          </a:xfrm>
          <a:custGeom>
            <a:avLst/>
            <a:gdLst>
              <a:gd name="T0" fmla="*/ 1152 w 1152"/>
              <a:gd name="T1" fmla="*/ 0 h 1056"/>
              <a:gd name="T2" fmla="*/ 1152 w 1152"/>
              <a:gd name="T3" fmla="*/ 192 h 1056"/>
              <a:gd name="T4" fmla="*/ 0 w 1152"/>
              <a:gd name="T5" fmla="*/ 192 h 1056"/>
              <a:gd name="T6" fmla="*/ 0 w 1152"/>
              <a:gd name="T7" fmla="*/ 0 h 1056"/>
              <a:gd name="T8" fmla="*/ 1152 w 1152"/>
              <a:gd name="T9" fmla="*/ 0 h 1056"/>
              <a:gd name="T10" fmla="*/ 1056 w 1152"/>
              <a:gd name="T11" fmla="*/ 288 h 1056"/>
              <a:gd name="T12" fmla="*/ 1056 w 1152"/>
              <a:gd name="T13" fmla="*/ 1056 h 1056"/>
              <a:gd name="T14" fmla="*/ 96 w 1152"/>
              <a:gd name="T15" fmla="*/ 1056 h 1056"/>
              <a:gd name="T16" fmla="*/ 96 w 1152"/>
              <a:gd name="T17" fmla="*/ 288 h 1056"/>
              <a:gd name="T18" fmla="*/ 1056 w 1152"/>
              <a:gd name="T19" fmla="*/ 288 h 1056"/>
              <a:gd name="T20" fmla="*/ 864 w 1152"/>
              <a:gd name="T21" fmla="*/ 576 h 1056"/>
              <a:gd name="T22" fmla="*/ 768 w 1152"/>
              <a:gd name="T23" fmla="*/ 480 h 1056"/>
              <a:gd name="T24" fmla="*/ 384 w 1152"/>
              <a:gd name="T25" fmla="*/ 480 h 1056"/>
              <a:gd name="T26" fmla="*/ 288 w 1152"/>
              <a:gd name="T27" fmla="*/ 576 h 1056"/>
              <a:gd name="T28" fmla="*/ 384 w 1152"/>
              <a:gd name="T29" fmla="*/ 672 h 1056"/>
              <a:gd name="T30" fmla="*/ 768 w 1152"/>
              <a:gd name="T31" fmla="*/ 672 h 1056"/>
              <a:gd name="T32" fmla="*/ 864 w 1152"/>
              <a:gd name="T33" fmla="*/ 576 h 10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52" h="1056">
                <a:moveTo>
                  <a:pt x="1152" y="0"/>
                </a:moveTo>
                <a:cubicBezTo>
                  <a:pt x="1152" y="192"/>
                  <a:pt x="1152" y="192"/>
                  <a:pt x="1152" y="19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0"/>
                  <a:pt x="0" y="0"/>
                  <a:pt x="0" y="0"/>
                </a:cubicBezTo>
                <a:lnTo>
                  <a:pt x="1152" y="0"/>
                </a:lnTo>
                <a:close/>
                <a:moveTo>
                  <a:pt x="1056" y="288"/>
                </a:moveTo>
                <a:cubicBezTo>
                  <a:pt x="1056" y="1056"/>
                  <a:pt x="1056" y="1056"/>
                  <a:pt x="1056" y="1056"/>
                </a:cubicBezTo>
                <a:cubicBezTo>
                  <a:pt x="96" y="1056"/>
                  <a:pt x="96" y="1056"/>
                  <a:pt x="96" y="1056"/>
                </a:cubicBezTo>
                <a:cubicBezTo>
                  <a:pt x="96" y="288"/>
                  <a:pt x="96" y="288"/>
                  <a:pt x="96" y="288"/>
                </a:cubicBezTo>
                <a:lnTo>
                  <a:pt x="1056" y="288"/>
                </a:lnTo>
                <a:close/>
                <a:moveTo>
                  <a:pt x="864" y="576"/>
                </a:moveTo>
                <a:cubicBezTo>
                  <a:pt x="864" y="523"/>
                  <a:pt x="821" y="480"/>
                  <a:pt x="768" y="480"/>
                </a:cubicBezTo>
                <a:cubicBezTo>
                  <a:pt x="384" y="480"/>
                  <a:pt x="384" y="480"/>
                  <a:pt x="384" y="480"/>
                </a:cubicBezTo>
                <a:cubicBezTo>
                  <a:pt x="331" y="480"/>
                  <a:pt x="288" y="523"/>
                  <a:pt x="288" y="576"/>
                </a:cubicBezTo>
                <a:cubicBezTo>
                  <a:pt x="288" y="629"/>
                  <a:pt x="331" y="672"/>
                  <a:pt x="384" y="672"/>
                </a:cubicBezTo>
                <a:cubicBezTo>
                  <a:pt x="768" y="672"/>
                  <a:pt x="768" y="672"/>
                  <a:pt x="768" y="672"/>
                </a:cubicBezTo>
                <a:cubicBezTo>
                  <a:pt x="821" y="672"/>
                  <a:pt x="864" y="629"/>
                  <a:pt x="864" y="57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E8910A1-8F2F-4EC2-A201-919A6CFD347F}"/>
              </a:ext>
            </a:extLst>
          </p:cNvPr>
          <p:cNvGrpSpPr/>
          <p:nvPr/>
        </p:nvGrpSpPr>
        <p:grpSpPr>
          <a:xfrm>
            <a:off x="10151202" y="3570522"/>
            <a:ext cx="4201433" cy="3100370"/>
            <a:chOff x="10151202" y="4002571"/>
            <a:chExt cx="4201433" cy="3100370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8F3F1FF9-51BD-4687-948B-37A05248848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2" y="5602661"/>
              <a:ext cx="2611176" cy="573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FA3ECA2-367C-45D5-8E97-02A886B9CC58}"/>
                </a:ext>
              </a:extLst>
            </p:cNvPr>
            <p:cNvGrpSpPr/>
            <p:nvPr/>
          </p:nvGrpSpPr>
          <p:grpSpPr>
            <a:xfrm>
              <a:off x="11615659" y="4002571"/>
              <a:ext cx="2736976" cy="3100370"/>
              <a:chOff x="11615659" y="4002571"/>
              <a:chExt cx="2736976" cy="3100370"/>
            </a:xfrm>
          </p:grpSpPr>
          <p:sp>
            <p:nvSpPr>
              <p:cNvPr id="67" name="Oval 66"/>
              <p:cNvSpPr/>
              <p:nvPr/>
            </p:nvSpPr>
            <p:spPr>
              <a:xfrm>
                <a:off x="11615659" y="4435400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olution</a:t>
                </a:r>
              </a:p>
            </p:txBody>
          </p:sp>
          <p:sp>
            <p:nvSpPr>
              <p:cNvPr id="48" name="Oval 47"/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Oval 49"/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Oval 52"/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Oval 54"/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Oval 56"/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Oval 68"/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Oval 69"/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" name="Oval 70"/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Oval 71"/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Oval 73"/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0" name="TextBox 59"/>
          <p:cNvSpPr txBox="1"/>
          <p:nvPr/>
        </p:nvSpPr>
        <p:spPr>
          <a:xfrm>
            <a:off x="786453" y="615847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266372"/>
            <a:ext cx="1906907" cy="1906907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4497357" y="61071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pe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497230" y="608360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819827" y="608360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vest</a:t>
            </a: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1051246" y="4575040"/>
            <a:ext cx="1350199" cy="311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1051246" y="5980168"/>
            <a:ext cx="1377323" cy="1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Oval 12"/>
          <p:cNvSpPr/>
          <p:nvPr/>
        </p:nvSpPr>
        <p:spPr>
          <a:xfrm>
            <a:off x="494972" y="4047557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ustry</a:t>
            </a:r>
          </a:p>
        </p:txBody>
      </p:sp>
      <p:sp>
        <p:nvSpPr>
          <p:cNvPr id="15" name="Oval 14"/>
          <p:cNvSpPr/>
          <p:nvPr/>
        </p:nvSpPr>
        <p:spPr>
          <a:xfrm>
            <a:off x="494972" y="5410943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chnology</a:t>
            </a:r>
          </a:p>
        </p:txBody>
      </p:sp>
      <p:cxnSp>
        <p:nvCxnSpPr>
          <p:cNvPr id="31" name="Straight Connector 30"/>
          <p:cNvCxnSpPr>
            <a:cxnSpLocks/>
          </p:cNvCxnSpPr>
          <p:nvPr/>
        </p:nvCxnSpPr>
        <p:spPr>
          <a:xfrm flipH="1" flipV="1">
            <a:off x="2413887" y="4606234"/>
            <a:ext cx="14682" cy="1373933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6" name="Straight Connector 65"/>
          <p:cNvCxnSpPr>
            <a:cxnSpLocks/>
          </p:cNvCxnSpPr>
          <p:nvPr/>
        </p:nvCxnSpPr>
        <p:spPr>
          <a:xfrm flipV="1">
            <a:off x="6726052" y="5187708"/>
            <a:ext cx="1978845" cy="24400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09EAFB27-0CFC-4B73-95E1-2FCB76355124}"/>
              </a:ext>
            </a:extLst>
          </p:cNvPr>
          <p:cNvGrpSpPr/>
          <p:nvPr/>
        </p:nvGrpSpPr>
        <p:grpSpPr>
          <a:xfrm>
            <a:off x="2394053" y="4569219"/>
            <a:ext cx="1664006" cy="1402887"/>
            <a:chOff x="2394053" y="5001268"/>
            <a:chExt cx="1664006" cy="1402887"/>
          </a:xfrm>
        </p:grpSpPr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4" name="Oval 13"/>
          <p:cNvSpPr/>
          <p:nvPr/>
        </p:nvSpPr>
        <p:spPr>
          <a:xfrm>
            <a:off x="1893130" y="4047557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nd</a:t>
            </a:r>
          </a:p>
        </p:txBody>
      </p:sp>
      <p:sp>
        <p:nvSpPr>
          <p:cNvPr id="68" name="Oval 67"/>
          <p:cNvSpPr/>
          <p:nvPr/>
        </p:nvSpPr>
        <p:spPr>
          <a:xfrm>
            <a:off x="1845171" y="5419004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able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D69F6E1-B8F5-4039-B96D-710A2CF7A21C}"/>
              </a:ext>
            </a:extLst>
          </p:cNvPr>
          <p:cNvGrpSpPr/>
          <p:nvPr/>
        </p:nvGrpSpPr>
        <p:grpSpPr>
          <a:xfrm>
            <a:off x="3550072" y="3853351"/>
            <a:ext cx="3732943" cy="2636278"/>
            <a:chOff x="3550072" y="4285400"/>
            <a:chExt cx="3732943" cy="2636278"/>
          </a:xfrm>
        </p:grpSpPr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7CD6BEFE-CF8E-4A20-A878-B450AB07E66F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C5ED887-0032-4C90-8916-09629436D3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" name="Straight Connector 36"/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" name="Straight Connector 62"/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6" name="Oval 15"/>
            <p:cNvSpPr/>
            <p:nvPr/>
          </p:nvSpPr>
          <p:spPr>
            <a:xfrm>
              <a:off x="3550072" y="5060276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lue Chain</a:t>
              </a:r>
            </a:p>
          </p:txBody>
        </p:sp>
        <p:sp>
          <p:nvSpPr>
            <p:cNvPr id="17" name="Oval 16"/>
            <p:cNvSpPr/>
            <p:nvPr/>
          </p:nvSpPr>
          <p:spPr>
            <a:xfrm>
              <a:off x="6160688" y="5064332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gital Blueprint</a:t>
              </a:r>
            </a:p>
          </p:txBody>
        </p:sp>
        <p:sp>
          <p:nvSpPr>
            <p:cNvPr id="18" name="Oval 17"/>
            <p:cNvSpPr/>
            <p:nvPr/>
          </p:nvSpPr>
          <p:spPr>
            <a:xfrm>
              <a:off x="4826292" y="4285400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ruptor</a:t>
              </a:r>
            </a:p>
          </p:txBody>
        </p:sp>
        <p:sp>
          <p:nvSpPr>
            <p:cNvPr id="62" name="Oval 61"/>
            <p:cNvSpPr/>
            <p:nvPr/>
          </p:nvSpPr>
          <p:spPr>
            <a:xfrm>
              <a:off x="4815954" y="5799351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abler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E4D7428-A9B1-40AF-9A9F-39C4282D2495}"/>
              </a:ext>
            </a:extLst>
          </p:cNvPr>
          <p:cNvGrpSpPr/>
          <p:nvPr/>
        </p:nvGrpSpPr>
        <p:grpSpPr>
          <a:xfrm>
            <a:off x="8191609" y="3364279"/>
            <a:ext cx="2520758" cy="3594267"/>
            <a:chOff x="8191609" y="3796328"/>
            <a:chExt cx="2520758" cy="3594267"/>
          </a:xfrm>
        </p:grpSpPr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12639"/>
              <a:ext cx="837267" cy="0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0" name="Oval 39"/>
            <p:cNvSpPr/>
            <p:nvPr/>
          </p:nvSpPr>
          <p:spPr>
            <a:xfrm>
              <a:off x="8191609" y="5051475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dea</a:t>
              </a:r>
            </a:p>
          </p:txBody>
        </p:sp>
        <p:sp>
          <p:nvSpPr>
            <p:cNvPr id="41" name="Oval 40"/>
            <p:cNvSpPr/>
            <p:nvPr/>
          </p:nvSpPr>
          <p:spPr>
            <a:xfrm>
              <a:off x="9590040" y="3796328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fferings</a:t>
              </a:r>
            </a:p>
          </p:txBody>
        </p:sp>
        <p:sp>
          <p:nvSpPr>
            <p:cNvPr id="42" name="Oval 41"/>
            <p:cNvSpPr/>
            <p:nvPr/>
          </p:nvSpPr>
          <p:spPr>
            <a:xfrm>
              <a:off x="9590040" y="6268268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rtners</a:t>
              </a:r>
            </a:p>
          </p:txBody>
        </p:sp>
        <p:sp>
          <p:nvSpPr>
            <p:cNvPr id="43" name="Oval 42"/>
            <p:cNvSpPr/>
            <p:nvPr/>
          </p:nvSpPr>
          <p:spPr>
            <a:xfrm>
              <a:off x="9590040" y="5031968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ient CMO</a:t>
              </a: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96EF05A-7A56-47C6-8C27-6D7A572EA097}"/>
              </a:ext>
            </a:extLst>
          </p:cNvPr>
          <p:cNvGrpSpPr/>
          <p:nvPr/>
        </p:nvGrpSpPr>
        <p:grpSpPr>
          <a:xfrm>
            <a:off x="8690783" y="1457151"/>
            <a:ext cx="1522410" cy="1525348"/>
            <a:chOff x="9857502" y="48105692"/>
            <a:chExt cx="822325" cy="823912"/>
          </a:xfrm>
          <a:solidFill>
            <a:schemeClr val="accent6"/>
          </a:solidFill>
        </p:grpSpPr>
        <p:sp>
          <p:nvSpPr>
            <p:cNvPr id="87" name="Freeform 80">
              <a:extLst>
                <a:ext uri="{FF2B5EF4-FFF2-40B4-BE49-F238E27FC236}">
                  <a16:creationId xmlns:a16="http://schemas.microsoft.com/office/drawing/2014/main" id="{C1782920-7785-4BC6-A082-281E79A73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7502" y="48243804"/>
              <a:ext cx="685800" cy="685800"/>
            </a:xfrm>
            <a:custGeom>
              <a:avLst/>
              <a:gdLst>
                <a:gd name="T0" fmla="*/ 345 w 432"/>
                <a:gd name="T1" fmla="*/ 346 h 432"/>
                <a:gd name="T2" fmla="*/ 86 w 432"/>
                <a:gd name="T3" fmla="*/ 346 h 432"/>
                <a:gd name="T4" fmla="*/ 86 w 432"/>
                <a:gd name="T5" fmla="*/ 86 h 432"/>
                <a:gd name="T6" fmla="*/ 216 w 432"/>
                <a:gd name="T7" fmla="*/ 86 h 432"/>
                <a:gd name="T8" fmla="*/ 216 w 432"/>
                <a:gd name="T9" fmla="*/ 0 h 432"/>
                <a:gd name="T10" fmla="*/ 0 w 432"/>
                <a:gd name="T11" fmla="*/ 0 h 432"/>
                <a:gd name="T12" fmla="*/ 0 w 432"/>
                <a:gd name="T13" fmla="*/ 432 h 432"/>
                <a:gd name="T14" fmla="*/ 432 w 432"/>
                <a:gd name="T15" fmla="*/ 432 h 432"/>
                <a:gd name="T16" fmla="*/ 432 w 432"/>
                <a:gd name="T17" fmla="*/ 216 h 432"/>
                <a:gd name="T18" fmla="*/ 345 w 432"/>
                <a:gd name="T19" fmla="*/ 216 h 432"/>
                <a:gd name="T20" fmla="*/ 345 w 432"/>
                <a:gd name="T21" fmla="*/ 34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2" h="432">
                  <a:moveTo>
                    <a:pt x="345" y="346"/>
                  </a:moveTo>
                  <a:lnTo>
                    <a:pt x="86" y="346"/>
                  </a:lnTo>
                  <a:lnTo>
                    <a:pt x="86" y="86"/>
                  </a:lnTo>
                  <a:lnTo>
                    <a:pt x="216" y="8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432"/>
                  </a:lnTo>
                  <a:lnTo>
                    <a:pt x="432" y="432"/>
                  </a:lnTo>
                  <a:lnTo>
                    <a:pt x="432" y="216"/>
                  </a:lnTo>
                  <a:lnTo>
                    <a:pt x="345" y="216"/>
                  </a:lnTo>
                  <a:lnTo>
                    <a:pt x="345" y="3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 81">
              <a:extLst>
                <a:ext uri="{FF2B5EF4-FFF2-40B4-BE49-F238E27FC236}">
                  <a16:creationId xmlns:a16="http://schemas.microsoft.com/office/drawing/2014/main" id="{E55B0E42-E1F7-464E-8052-1711A87EA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6927" y="48105692"/>
              <a:ext cx="342900" cy="342900"/>
            </a:xfrm>
            <a:custGeom>
              <a:avLst/>
              <a:gdLst>
                <a:gd name="T0" fmla="*/ 0 w 216"/>
                <a:gd name="T1" fmla="*/ 87 h 216"/>
                <a:gd name="T2" fmla="*/ 130 w 216"/>
                <a:gd name="T3" fmla="*/ 87 h 216"/>
                <a:gd name="T4" fmla="*/ 130 w 216"/>
                <a:gd name="T5" fmla="*/ 216 h 216"/>
                <a:gd name="T6" fmla="*/ 216 w 216"/>
                <a:gd name="T7" fmla="*/ 216 h 216"/>
                <a:gd name="T8" fmla="*/ 216 w 216"/>
                <a:gd name="T9" fmla="*/ 0 h 216"/>
                <a:gd name="T10" fmla="*/ 0 w 216"/>
                <a:gd name="T11" fmla="*/ 0 h 216"/>
                <a:gd name="T12" fmla="*/ 0 w 216"/>
                <a:gd name="T13" fmla="*/ 8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16">
                  <a:moveTo>
                    <a:pt x="0" y="87"/>
                  </a:moveTo>
                  <a:lnTo>
                    <a:pt x="130" y="87"/>
                  </a:lnTo>
                  <a:lnTo>
                    <a:pt x="130" y="216"/>
                  </a:lnTo>
                  <a:lnTo>
                    <a:pt x="216" y="21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Rectangle 82">
              <a:extLst>
                <a:ext uri="{FF2B5EF4-FFF2-40B4-BE49-F238E27FC236}">
                  <a16:creationId xmlns:a16="http://schemas.microsoft.com/office/drawing/2014/main" id="{CC286DAF-DD95-49A0-8CE8-DCE3D823EF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32140" y="48518442"/>
              <a:ext cx="136525" cy="136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28192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animBg="1"/>
      <p:bldP spid="58" grpId="0"/>
      <p:bldP spid="51" grpId="0"/>
      <p:bldP spid="5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05CA2B7-77DD-4461-A132-9C884705E2EB}"/>
              </a:ext>
            </a:extLst>
          </p:cNvPr>
          <p:cNvGrpSpPr/>
          <p:nvPr/>
        </p:nvGrpSpPr>
        <p:grpSpPr>
          <a:xfrm>
            <a:off x="348421" y="3319751"/>
            <a:ext cx="14299976" cy="3747377"/>
            <a:chOff x="330424" y="3751799"/>
            <a:chExt cx="14299976" cy="3747377"/>
          </a:xfrm>
        </p:grpSpPr>
        <p:sp>
          <p:nvSpPr>
            <p:cNvPr id="2" name="Arrow: Pentagon 1">
              <a:extLst>
                <a:ext uri="{FF2B5EF4-FFF2-40B4-BE49-F238E27FC236}">
                  <a16:creationId xmlns:a16="http://schemas.microsoft.com/office/drawing/2014/main" id="{E8F5F4E7-ABB6-494B-BE24-648BA9EDBCE4}"/>
                </a:ext>
              </a:extLst>
            </p:cNvPr>
            <p:cNvSpPr/>
            <p:nvPr/>
          </p:nvSpPr>
          <p:spPr>
            <a:xfrm>
              <a:off x="330424" y="3751799"/>
              <a:ext cx="14299976" cy="3747377"/>
            </a:xfrm>
            <a:prstGeom prst="homePlate">
              <a:avLst>
                <a:gd name="adj" fmla="val 20868"/>
              </a:avLst>
            </a:prstGeom>
            <a:solidFill>
              <a:schemeClr val="accent2"/>
            </a:solidFill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50599"/>
              <a:ext cx="4084932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Straight Connector 19"/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" name="Straight Connector 20"/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" name="Oval 12"/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dustry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chnology</a:t>
              </a:r>
            </a:p>
          </p:txBody>
        </p:sp>
        <p:cxnSp>
          <p:nvCxnSpPr>
            <p:cNvPr id="31" name="Straight Connector 30"/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5" name="Group 34"/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1" name="Oval 40"/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fferings</a:t>
                </a:r>
              </a:p>
            </p:txBody>
          </p:sp>
          <p:sp>
            <p:nvSpPr>
              <p:cNvPr id="42" name="Oval 41"/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artners</a:t>
                </a:r>
              </a:p>
            </p:txBody>
          </p:sp>
          <p:sp>
            <p:nvSpPr>
              <p:cNvPr id="43" name="Oval 42"/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lient CMO</a:t>
                </a:r>
              </a:p>
            </p:txBody>
          </p:sp>
          <p:sp>
            <p:nvSpPr>
              <p:cNvPr id="40" name="Oval 39"/>
              <p:cNvSpPr/>
              <p:nvPr/>
            </p:nvSpPr>
            <p:spPr>
              <a:xfrm>
                <a:off x="7779176" y="5079576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dea</a:t>
                </a:r>
              </a:p>
            </p:txBody>
          </p:sp>
        </p:grpSp>
        <p:sp>
          <p:nvSpPr>
            <p:cNvPr id="67" name="Oval 66"/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olution</a:t>
              </a:r>
            </a:p>
          </p:txBody>
        </p:sp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nd</a:t>
              </a:r>
            </a:p>
          </p:txBody>
        </p:sp>
        <p:sp>
          <p:nvSpPr>
            <p:cNvPr id="68" name="Oval 67"/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abler</a:t>
              </a:r>
            </a:p>
          </p:txBody>
        </p:sp>
        <p:sp>
          <p:nvSpPr>
            <p:cNvPr id="48" name="Oval 47"/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B5AD39E9-A4D1-41DC-A749-8A13C4C128AD}"/>
              </a:ext>
            </a:extLst>
          </p:cNvPr>
          <p:cNvCxnSpPr>
            <a:cxnSpLocks/>
            <a:stCxn id="96" idx="6"/>
            <a:endCxn id="40" idx="2"/>
          </p:cNvCxnSpPr>
          <p:nvPr/>
        </p:nvCxnSpPr>
        <p:spPr>
          <a:xfrm flipV="1">
            <a:off x="7283015" y="5218552"/>
            <a:ext cx="926591" cy="5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TextBox 59"/>
          <p:cNvSpPr txBox="1"/>
          <p:nvPr/>
        </p:nvSpPr>
        <p:spPr>
          <a:xfrm>
            <a:off x="786453" y="64154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stand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4474637" y="636415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pe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819827" y="63405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ves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499805" y="63405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</a:t>
            </a: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A6A64E4-D3E1-4312-9796-1EEAC38C3496}"/>
              </a:ext>
            </a:extLst>
          </p:cNvPr>
          <p:cNvGrpSpPr/>
          <p:nvPr/>
        </p:nvGrpSpPr>
        <p:grpSpPr>
          <a:xfrm>
            <a:off x="3550072" y="3879050"/>
            <a:ext cx="3732943" cy="2636278"/>
            <a:chOff x="3550072" y="4285400"/>
            <a:chExt cx="3732943" cy="2636278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0E67485A-AA14-49D1-A1AC-E3E6CD0B77B8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A78207A5-0F3F-4287-886F-22DAC0AF87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2C57D887-9F27-4140-BAB8-E65A95B7CBEA}"/>
                </a:ext>
              </a:extLst>
            </p:cNvPr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D047669-F3B5-4C28-AB0A-7F34521178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2FC05161-C7F7-4776-B52E-41D311F41AEB}"/>
                </a:ext>
              </a:extLst>
            </p:cNvPr>
            <p:cNvGrpSpPr/>
            <p:nvPr/>
          </p:nvGrpSpPr>
          <p:grpSpPr>
            <a:xfrm>
              <a:off x="3550072" y="4285400"/>
              <a:ext cx="3732943" cy="2636278"/>
              <a:chOff x="3519130" y="4285400"/>
              <a:chExt cx="3732943" cy="2636278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1F368F56-7350-45FD-9E4A-0029CB59F7C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Value Chain</a:t>
                </a: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B1A70994-E4E7-4C04-90CB-0DD2FDB202B5}"/>
                  </a:ext>
                </a:extLst>
              </p:cNvPr>
              <p:cNvSpPr/>
              <p:nvPr/>
            </p:nvSpPr>
            <p:spPr>
              <a:xfrm>
                <a:off x="6129746" y="5064332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gital Blueprint</a:t>
                </a: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E6C20B71-DDE1-485D-9ED6-094E1017AD0D}"/>
                  </a:ext>
                </a:extLst>
              </p:cNvPr>
              <p:cNvSpPr/>
              <p:nvPr/>
            </p:nvSpPr>
            <p:spPr>
              <a:xfrm>
                <a:off x="4795350" y="4285400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ruptor</a:t>
                </a: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150A855A-2877-48FA-BD40-1407F24258C5}"/>
                  </a:ext>
                </a:extLst>
              </p:cNvPr>
              <p:cNvSpPr/>
              <p:nvPr/>
            </p:nvSpPr>
            <p:spPr>
              <a:xfrm>
                <a:off x="4785012" y="5799351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abler</a:t>
                </a:r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092B7D2F-D04D-45A7-BD73-28675D3D311F}"/>
              </a:ext>
            </a:extLst>
          </p:cNvPr>
          <p:cNvGrpSpPr/>
          <p:nvPr/>
        </p:nvGrpSpPr>
        <p:grpSpPr>
          <a:xfrm>
            <a:off x="4538069" y="1307084"/>
            <a:ext cx="1825482" cy="1825482"/>
            <a:chOff x="8373533" y="48106486"/>
            <a:chExt cx="822325" cy="822325"/>
          </a:xfrm>
          <a:solidFill>
            <a:schemeClr val="accent5"/>
          </a:solidFill>
        </p:grpSpPr>
        <p:sp>
          <p:nvSpPr>
            <p:cNvPr id="115" name="Freeform 74">
              <a:extLst>
                <a:ext uri="{FF2B5EF4-FFF2-40B4-BE49-F238E27FC236}">
                  <a16:creationId xmlns:a16="http://schemas.microsoft.com/office/drawing/2014/main" id="{DEA5EAD1-F637-4219-B3F1-B0766E033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3533" y="48243011"/>
              <a:ext cx="685800" cy="685800"/>
            </a:xfrm>
            <a:custGeom>
              <a:avLst/>
              <a:gdLst>
                <a:gd name="T0" fmla="*/ 480 w 960"/>
                <a:gd name="T1" fmla="*/ 768 h 960"/>
                <a:gd name="T2" fmla="*/ 768 w 960"/>
                <a:gd name="T3" fmla="*/ 480 h 960"/>
                <a:gd name="T4" fmla="*/ 960 w 960"/>
                <a:gd name="T5" fmla="*/ 480 h 960"/>
                <a:gd name="T6" fmla="*/ 480 w 960"/>
                <a:gd name="T7" fmla="*/ 960 h 960"/>
                <a:gd name="T8" fmla="*/ 0 w 960"/>
                <a:gd name="T9" fmla="*/ 480 h 960"/>
                <a:gd name="T10" fmla="*/ 480 w 960"/>
                <a:gd name="T11" fmla="*/ 0 h 960"/>
                <a:gd name="T12" fmla="*/ 480 w 960"/>
                <a:gd name="T13" fmla="*/ 192 h 960"/>
                <a:gd name="T14" fmla="*/ 192 w 960"/>
                <a:gd name="T15" fmla="*/ 480 h 960"/>
                <a:gd name="T16" fmla="*/ 480 w 960"/>
                <a:gd name="T17" fmla="*/ 768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0" h="960">
                  <a:moveTo>
                    <a:pt x="480" y="768"/>
                  </a:moveTo>
                  <a:cubicBezTo>
                    <a:pt x="639" y="768"/>
                    <a:pt x="768" y="639"/>
                    <a:pt x="768" y="480"/>
                  </a:cubicBezTo>
                  <a:cubicBezTo>
                    <a:pt x="960" y="480"/>
                    <a:pt x="960" y="480"/>
                    <a:pt x="960" y="480"/>
                  </a:cubicBezTo>
                  <a:cubicBezTo>
                    <a:pt x="960" y="745"/>
                    <a:pt x="745" y="960"/>
                    <a:pt x="480" y="960"/>
                  </a:cubicBezTo>
                  <a:cubicBezTo>
                    <a:pt x="215" y="960"/>
                    <a:pt x="0" y="745"/>
                    <a:pt x="0" y="480"/>
                  </a:cubicBezTo>
                  <a:cubicBezTo>
                    <a:pt x="0" y="215"/>
                    <a:pt x="215" y="0"/>
                    <a:pt x="480" y="0"/>
                  </a:cubicBezTo>
                  <a:cubicBezTo>
                    <a:pt x="480" y="192"/>
                    <a:pt x="480" y="192"/>
                    <a:pt x="480" y="192"/>
                  </a:cubicBezTo>
                  <a:cubicBezTo>
                    <a:pt x="321" y="192"/>
                    <a:pt x="192" y="321"/>
                    <a:pt x="192" y="480"/>
                  </a:cubicBezTo>
                  <a:cubicBezTo>
                    <a:pt x="192" y="639"/>
                    <a:pt x="321" y="768"/>
                    <a:pt x="480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" name="Freeform 75">
              <a:extLst>
                <a:ext uri="{FF2B5EF4-FFF2-40B4-BE49-F238E27FC236}">
                  <a16:creationId xmlns:a16="http://schemas.microsoft.com/office/drawing/2014/main" id="{082D0C18-6018-43D5-B3E1-C5276EAFB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2958" y="48106486"/>
              <a:ext cx="342900" cy="342900"/>
            </a:xfrm>
            <a:custGeom>
              <a:avLst/>
              <a:gdLst>
                <a:gd name="T0" fmla="*/ 0 w 480"/>
                <a:gd name="T1" fmla="*/ 0 h 480"/>
                <a:gd name="T2" fmla="*/ 0 w 480"/>
                <a:gd name="T3" fmla="*/ 192 h 480"/>
                <a:gd name="T4" fmla="*/ 288 w 480"/>
                <a:gd name="T5" fmla="*/ 480 h 480"/>
                <a:gd name="T6" fmla="*/ 480 w 480"/>
                <a:gd name="T7" fmla="*/ 480 h 480"/>
                <a:gd name="T8" fmla="*/ 0 w 480"/>
                <a:gd name="T9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0" h="480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59" y="192"/>
                    <a:pt x="288" y="321"/>
                    <a:pt x="288" y="480"/>
                  </a:cubicBezTo>
                  <a:cubicBezTo>
                    <a:pt x="480" y="480"/>
                    <a:pt x="480" y="480"/>
                    <a:pt x="480" y="480"/>
                  </a:cubicBezTo>
                  <a:cubicBezTo>
                    <a:pt x="480" y="215"/>
                    <a:pt x="265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Oval 76">
              <a:extLst>
                <a:ext uri="{FF2B5EF4-FFF2-40B4-BE49-F238E27FC236}">
                  <a16:creationId xmlns:a16="http://schemas.microsoft.com/office/drawing/2014/main" id="{4BE1CF45-D850-4D12-9AD9-373F82500E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48171" y="48517649"/>
              <a:ext cx="136525" cy="136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18" name="Freeform 58">
            <a:extLst>
              <a:ext uri="{FF2B5EF4-FFF2-40B4-BE49-F238E27FC236}">
                <a16:creationId xmlns:a16="http://schemas.microsoft.com/office/drawing/2014/main" id="{1239A33F-204E-4B47-93E1-2F2063AC098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103914" y="1604716"/>
            <a:ext cx="1341343" cy="1230218"/>
          </a:xfrm>
          <a:custGeom>
            <a:avLst/>
            <a:gdLst>
              <a:gd name="T0" fmla="*/ 1152 w 1152"/>
              <a:gd name="T1" fmla="*/ 0 h 1056"/>
              <a:gd name="T2" fmla="*/ 1152 w 1152"/>
              <a:gd name="T3" fmla="*/ 192 h 1056"/>
              <a:gd name="T4" fmla="*/ 0 w 1152"/>
              <a:gd name="T5" fmla="*/ 192 h 1056"/>
              <a:gd name="T6" fmla="*/ 0 w 1152"/>
              <a:gd name="T7" fmla="*/ 0 h 1056"/>
              <a:gd name="T8" fmla="*/ 1152 w 1152"/>
              <a:gd name="T9" fmla="*/ 0 h 1056"/>
              <a:gd name="T10" fmla="*/ 1056 w 1152"/>
              <a:gd name="T11" fmla="*/ 288 h 1056"/>
              <a:gd name="T12" fmla="*/ 1056 w 1152"/>
              <a:gd name="T13" fmla="*/ 1056 h 1056"/>
              <a:gd name="T14" fmla="*/ 96 w 1152"/>
              <a:gd name="T15" fmla="*/ 1056 h 1056"/>
              <a:gd name="T16" fmla="*/ 96 w 1152"/>
              <a:gd name="T17" fmla="*/ 288 h 1056"/>
              <a:gd name="T18" fmla="*/ 1056 w 1152"/>
              <a:gd name="T19" fmla="*/ 288 h 1056"/>
              <a:gd name="T20" fmla="*/ 864 w 1152"/>
              <a:gd name="T21" fmla="*/ 576 h 1056"/>
              <a:gd name="T22" fmla="*/ 768 w 1152"/>
              <a:gd name="T23" fmla="*/ 480 h 1056"/>
              <a:gd name="T24" fmla="*/ 384 w 1152"/>
              <a:gd name="T25" fmla="*/ 480 h 1056"/>
              <a:gd name="T26" fmla="*/ 288 w 1152"/>
              <a:gd name="T27" fmla="*/ 576 h 1056"/>
              <a:gd name="T28" fmla="*/ 384 w 1152"/>
              <a:gd name="T29" fmla="*/ 672 h 1056"/>
              <a:gd name="T30" fmla="*/ 768 w 1152"/>
              <a:gd name="T31" fmla="*/ 672 h 1056"/>
              <a:gd name="T32" fmla="*/ 864 w 1152"/>
              <a:gd name="T33" fmla="*/ 576 h 10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52" h="1056">
                <a:moveTo>
                  <a:pt x="1152" y="0"/>
                </a:moveTo>
                <a:cubicBezTo>
                  <a:pt x="1152" y="192"/>
                  <a:pt x="1152" y="192"/>
                  <a:pt x="1152" y="19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0"/>
                  <a:pt x="0" y="0"/>
                  <a:pt x="0" y="0"/>
                </a:cubicBezTo>
                <a:lnTo>
                  <a:pt x="1152" y="0"/>
                </a:lnTo>
                <a:close/>
                <a:moveTo>
                  <a:pt x="1056" y="288"/>
                </a:moveTo>
                <a:cubicBezTo>
                  <a:pt x="1056" y="1056"/>
                  <a:pt x="1056" y="1056"/>
                  <a:pt x="1056" y="1056"/>
                </a:cubicBezTo>
                <a:cubicBezTo>
                  <a:pt x="96" y="1056"/>
                  <a:pt x="96" y="1056"/>
                  <a:pt x="96" y="1056"/>
                </a:cubicBezTo>
                <a:cubicBezTo>
                  <a:pt x="96" y="288"/>
                  <a:pt x="96" y="288"/>
                  <a:pt x="96" y="288"/>
                </a:cubicBezTo>
                <a:lnTo>
                  <a:pt x="1056" y="288"/>
                </a:lnTo>
                <a:close/>
                <a:moveTo>
                  <a:pt x="864" y="576"/>
                </a:moveTo>
                <a:cubicBezTo>
                  <a:pt x="864" y="523"/>
                  <a:pt x="821" y="480"/>
                  <a:pt x="768" y="480"/>
                </a:cubicBezTo>
                <a:cubicBezTo>
                  <a:pt x="384" y="480"/>
                  <a:pt x="384" y="480"/>
                  <a:pt x="384" y="480"/>
                </a:cubicBezTo>
                <a:cubicBezTo>
                  <a:pt x="331" y="480"/>
                  <a:pt x="288" y="523"/>
                  <a:pt x="288" y="576"/>
                </a:cubicBezTo>
                <a:cubicBezTo>
                  <a:pt x="288" y="629"/>
                  <a:pt x="331" y="672"/>
                  <a:pt x="384" y="672"/>
                </a:cubicBezTo>
                <a:cubicBezTo>
                  <a:pt x="768" y="672"/>
                  <a:pt x="768" y="672"/>
                  <a:pt x="768" y="672"/>
                </a:cubicBezTo>
                <a:cubicBezTo>
                  <a:pt x="821" y="672"/>
                  <a:pt x="864" y="629"/>
                  <a:pt x="864" y="57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9" name="Picture 118">
            <a:extLst>
              <a:ext uri="{FF2B5EF4-FFF2-40B4-BE49-F238E27FC236}">
                <a16:creationId xmlns:a16="http://schemas.microsoft.com/office/drawing/2014/main" id="{1F62B7F4-9FBA-4D78-95B3-5CD4BF3D60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266372"/>
            <a:ext cx="1906907" cy="1906907"/>
          </a:xfrm>
          <a:prstGeom prst="rect">
            <a:avLst/>
          </a:prstGeom>
        </p:spPr>
      </p:pic>
      <p:grpSp>
        <p:nvGrpSpPr>
          <p:cNvPr id="120" name="Group 119">
            <a:extLst>
              <a:ext uri="{FF2B5EF4-FFF2-40B4-BE49-F238E27FC236}">
                <a16:creationId xmlns:a16="http://schemas.microsoft.com/office/drawing/2014/main" id="{47DF68FB-1F53-419E-9297-CFD3C625ED61}"/>
              </a:ext>
            </a:extLst>
          </p:cNvPr>
          <p:cNvGrpSpPr/>
          <p:nvPr/>
        </p:nvGrpSpPr>
        <p:grpSpPr>
          <a:xfrm>
            <a:off x="8690783" y="1457151"/>
            <a:ext cx="1522410" cy="1525348"/>
            <a:chOff x="9857502" y="48105692"/>
            <a:chExt cx="822325" cy="823912"/>
          </a:xfrm>
          <a:solidFill>
            <a:schemeClr val="accent6"/>
          </a:solidFill>
        </p:grpSpPr>
        <p:sp>
          <p:nvSpPr>
            <p:cNvPr id="121" name="Freeform 80">
              <a:extLst>
                <a:ext uri="{FF2B5EF4-FFF2-40B4-BE49-F238E27FC236}">
                  <a16:creationId xmlns:a16="http://schemas.microsoft.com/office/drawing/2014/main" id="{1F1295EC-3405-4AFC-A7DF-68E2DE535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7502" y="48243804"/>
              <a:ext cx="685800" cy="685800"/>
            </a:xfrm>
            <a:custGeom>
              <a:avLst/>
              <a:gdLst>
                <a:gd name="T0" fmla="*/ 345 w 432"/>
                <a:gd name="T1" fmla="*/ 346 h 432"/>
                <a:gd name="T2" fmla="*/ 86 w 432"/>
                <a:gd name="T3" fmla="*/ 346 h 432"/>
                <a:gd name="T4" fmla="*/ 86 w 432"/>
                <a:gd name="T5" fmla="*/ 86 h 432"/>
                <a:gd name="T6" fmla="*/ 216 w 432"/>
                <a:gd name="T7" fmla="*/ 86 h 432"/>
                <a:gd name="T8" fmla="*/ 216 w 432"/>
                <a:gd name="T9" fmla="*/ 0 h 432"/>
                <a:gd name="T10" fmla="*/ 0 w 432"/>
                <a:gd name="T11" fmla="*/ 0 h 432"/>
                <a:gd name="T12" fmla="*/ 0 w 432"/>
                <a:gd name="T13" fmla="*/ 432 h 432"/>
                <a:gd name="T14" fmla="*/ 432 w 432"/>
                <a:gd name="T15" fmla="*/ 432 h 432"/>
                <a:gd name="T16" fmla="*/ 432 w 432"/>
                <a:gd name="T17" fmla="*/ 216 h 432"/>
                <a:gd name="T18" fmla="*/ 345 w 432"/>
                <a:gd name="T19" fmla="*/ 216 h 432"/>
                <a:gd name="T20" fmla="*/ 345 w 432"/>
                <a:gd name="T21" fmla="*/ 34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2" h="432">
                  <a:moveTo>
                    <a:pt x="345" y="346"/>
                  </a:moveTo>
                  <a:lnTo>
                    <a:pt x="86" y="346"/>
                  </a:lnTo>
                  <a:lnTo>
                    <a:pt x="86" y="86"/>
                  </a:lnTo>
                  <a:lnTo>
                    <a:pt x="216" y="8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432"/>
                  </a:lnTo>
                  <a:lnTo>
                    <a:pt x="432" y="432"/>
                  </a:lnTo>
                  <a:lnTo>
                    <a:pt x="432" y="216"/>
                  </a:lnTo>
                  <a:lnTo>
                    <a:pt x="345" y="216"/>
                  </a:lnTo>
                  <a:lnTo>
                    <a:pt x="345" y="3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Freeform 81">
              <a:extLst>
                <a:ext uri="{FF2B5EF4-FFF2-40B4-BE49-F238E27FC236}">
                  <a16:creationId xmlns:a16="http://schemas.microsoft.com/office/drawing/2014/main" id="{0A5A2B5D-A641-465A-9B30-B77776CD9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6927" y="48105692"/>
              <a:ext cx="342900" cy="342900"/>
            </a:xfrm>
            <a:custGeom>
              <a:avLst/>
              <a:gdLst>
                <a:gd name="T0" fmla="*/ 0 w 216"/>
                <a:gd name="T1" fmla="*/ 87 h 216"/>
                <a:gd name="T2" fmla="*/ 130 w 216"/>
                <a:gd name="T3" fmla="*/ 87 h 216"/>
                <a:gd name="T4" fmla="*/ 130 w 216"/>
                <a:gd name="T5" fmla="*/ 216 h 216"/>
                <a:gd name="T6" fmla="*/ 216 w 216"/>
                <a:gd name="T7" fmla="*/ 216 h 216"/>
                <a:gd name="T8" fmla="*/ 216 w 216"/>
                <a:gd name="T9" fmla="*/ 0 h 216"/>
                <a:gd name="T10" fmla="*/ 0 w 216"/>
                <a:gd name="T11" fmla="*/ 0 h 216"/>
                <a:gd name="T12" fmla="*/ 0 w 216"/>
                <a:gd name="T13" fmla="*/ 8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16">
                  <a:moveTo>
                    <a:pt x="0" y="87"/>
                  </a:moveTo>
                  <a:lnTo>
                    <a:pt x="130" y="87"/>
                  </a:lnTo>
                  <a:lnTo>
                    <a:pt x="130" y="216"/>
                  </a:lnTo>
                  <a:lnTo>
                    <a:pt x="216" y="21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Rectangle 82">
              <a:extLst>
                <a:ext uri="{FF2B5EF4-FFF2-40B4-BE49-F238E27FC236}">
                  <a16:creationId xmlns:a16="http://schemas.microsoft.com/office/drawing/2014/main" id="{6282B921-1BA3-49F8-A07D-AEB5FB0E3F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32140" y="48518442"/>
              <a:ext cx="136525" cy="136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8849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>
            <a:extLst>
              <a:ext uri="{FF2B5EF4-FFF2-40B4-BE49-F238E27FC236}">
                <a16:creationId xmlns:a16="http://schemas.microsoft.com/office/drawing/2014/main" id="{75775934-F650-4C52-AA5C-F013EB4A54BA}"/>
              </a:ext>
            </a:extLst>
          </p:cNvPr>
          <p:cNvGrpSpPr/>
          <p:nvPr/>
        </p:nvGrpSpPr>
        <p:grpSpPr>
          <a:xfrm>
            <a:off x="161343" y="1479290"/>
            <a:ext cx="2609224" cy="643538"/>
            <a:chOff x="330424" y="3751799"/>
            <a:chExt cx="15193725" cy="3747377"/>
          </a:xfrm>
        </p:grpSpPr>
        <p:sp>
          <p:nvSpPr>
            <p:cNvPr id="47" name="Arrow: Pentagon 46">
              <a:extLst>
                <a:ext uri="{FF2B5EF4-FFF2-40B4-BE49-F238E27FC236}">
                  <a16:creationId xmlns:a16="http://schemas.microsoft.com/office/drawing/2014/main" id="{460A25A7-0027-481A-9C44-CCD751373D47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46B1DC55-73AE-49B0-BA9C-E00C869485FE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FD2599AD-19F3-43FF-B7D6-0E94223DBEB3}"/>
                </a:ext>
              </a:extLst>
            </p:cNvPr>
            <p:cNvCxnSpPr>
              <a:cxnSpLocks/>
              <a:endCxn id="85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80795C56-245F-4FC1-9266-6A819A09B9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AC2CC2A-9A32-4450-A6D6-398C96BFA987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1F4A5A69-8CDA-4E2B-8115-98FBD7A57D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1B8574C-8631-487F-9DBB-9BE07B59F8EA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D828AEC-7DC1-4566-989F-4F3BB8FAD4DF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5B4D51B6-1CD4-425C-86CB-01ACAE43EAC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607BDB79-C26B-4488-A129-9D6000247E5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4876AE72-690F-4591-BBD7-94D0F9E1CBC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92563C88-AD81-4492-A25D-3C4CD5B2AF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80ED487-6803-431C-8E0F-40D973517C77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E2F1AFF7-785A-4CC8-B5A4-A3C7EA4BB155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8E0564AE-63C1-4C76-ACB3-E32D017E669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5336F5C3-BA4E-404F-BE24-C4F0A3B4D9C9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EE94C773-5386-4389-82C4-01754C2CD745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34D874AD-A200-45AC-ABA9-9289DEB0B87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95E7C3B-BAFB-4794-B5E8-F6241296529C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0F1292AB-1C44-4CA1-B466-C42C37503E2A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9B033ACF-4356-4305-8B9F-24F6EF92DB2C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2EC07D89-6A00-45B8-BDC1-1F69DA716FD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4924672-1CCF-4250-8BDA-A10058D21A5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BCEAB92C-9039-4C61-9CD8-A0EC774885E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C8EED9EB-FF65-4F6B-83D0-3E282CF66D1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12D51E82-3AE1-4F60-B23C-6D60347778BE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31776255-27DE-4E6D-9E85-562993854D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EF30525A-7876-4B90-96D0-B558E25E1CE2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265B3B71-CF74-4542-990C-FD662E3B556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A7562FF7-F9B2-4A29-A5BB-1DD5CF99829D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98933D06-CE90-4450-8330-4D396861312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762DDA40-E7A4-4DDB-AE07-61BC3E3D113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76CA4E56-2B6B-4C76-948B-9EA9EBC11E03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7BC34D1A-4059-4CEF-9D8F-831EEF5C2D2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FD1F842E-0C24-41D9-B295-5F3C5BAFA0E5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175A879F-664F-4884-99CA-CB6B14662C4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18BAF577-EB68-4031-8B73-48FF73C1A27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0E047594-C046-4C39-85D1-5E09926B883D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610305D6-26B3-41AA-9A0E-7E05EDA384C7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B66FAB78-638E-4259-ACB7-957D5687AAC9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E97FC14E-87D1-4ABF-85A7-654B00EF090C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25B89526-3C75-4526-B36E-AB95AE944A86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974916CF-7E51-4CAF-8EF5-8BB8C4D1E033}"/>
              </a:ext>
            </a:extLst>
          </p:cNvPr>
          <p:cNvGrpSpPr/>
          <p:nvPr/>
        </p:nvGrpSpPr>
        <p:grpSpPr>
          <a:xfrm>
            <a:off x="1069584" y="2330048"/>
            <a:ext cx="2609224" cy="643538"/>
            <a:chOff x="330424" y="3751799"/>
            <a:chExt cx="15193725" cy="3747377"/>
          </a:xfrm>
        </p:grpSpPr>
        <p:sp>
          <p:nvSpPr>
            <p:cNvPr id="90" name="Arrow: Pentagon 89">
              <a:extLst>
                <a:ext uri="{FF2B5EF4-FFF2-40B4-BE49-F238E27FC236}">
                  <a16:creationId xmlns:a16="http://schemas.microsoft.com/office/drawing/2014/main" id="{978C0DFB-31DA-45B9-AFF2-152AEAC9F87E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0747449C-31DA-4B4B-9169-748A85F08A6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E1F01EC-95E1-4937-B42F-F3718461A23B}"/>
                </a:ext>
              </a:extLst>
            </p:cNvPr>
            <p:cNvCxnSpPr>
              <a:cxnSpLocks/>
              <a:endCxn id="128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5E307D1-78BB-4ED0-92A4-03256343D5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8097DD6-9DEB-4152-A6CE-75F6F55382EC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E2580DE6-2546-47BA-A50E-5C3622DA02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07FBB411-EBAD-49A1-A2C8-6926E07D5B03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65D01276-34B1-46A5-A5A4-9C4A75642BD5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9034785-3A48-4125-9505-36715E54F41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A85C08A4-AC1B-4942-954A-8D547D5E5EDE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A1B49D4-D94B-40D9-A352-DAD51461C1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847545C-5C5B-4CAE-9025-C1332A9CAED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A7F6AA23-FF85-498A-9535-2F8FCC00E29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26CACA63-4A99-47E1-AAFA-4A056916DC4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B3184453-E6F4-4EFA-B8C0-CFA8E367A10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44FC26F5-D98F-4DA8-B842-30F0CE55425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3B233B3C-A801-4214-9C0D-97CE9FD90616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EE633DE3-23A9-40BD-B47F-EBF2DB77690B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EFDFF4BC-5F19-445C-880B-5C27FAD232AB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B76D3C08-F0EE-40F8-9522-80F246D8A3E5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A4FB4FF5-CDD9-4C06-B338-C746C1B67743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FD91404-AE45-4D5E-A9FA-3B87FF408D3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FE5034FE-E04A-4820-88D2-9A53F0FB0ED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2D26E55C-A7E0-48E3-ACB2-9969ABE5A409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ED059567-C4D4-4B36-9ECD-A349FE987ECE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235844D0-1154-4042-9506-E17E84FE1E84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4BE04D57-D1E7-4E66-8B69-AAEDDDE7E4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5F240005-BF51-4AED-B05E-DF5E0BDE2B69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09F6ADAC-0092-42DE-8DC2-A2F123365B9D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716D0A87-0BE5-4360-8C06-45BFD01BE4D3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82D4F883-227B-4817-A959-D02B80D0ACB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30D2F27C-030A-43CA-8004-96EA95EAA5D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6E610753-6398-4AA0-92E9-10BC3096D46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BA906B2A-9590-4F42-B702-4CB8DD773AB6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E8C1CF0A-F743-479D-905C-7A4C7C0820D4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C23AD92C-210F-45BF-BF74-276C737259D8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53A4D01F-E275-4033-BD52-FE5C0B02B815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97C572F8-BAA9-4B39-AA48-AFF9427CC8CF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69E88CBB-A4D7-44E0-8F26-87799B99911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FAAB8670-214D-4FDA-86DD-23CACAD565B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110C6D58-A5D8-46B5-A8BF-7FE0C0F9649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0BF9138C-F8AA-421E-A57C-5EE2D2BCDAFC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26AF8797-4D76-4D6D-96DB-1FFC8359D8EB}"/>
              </a:ext>
            </a:extLst>
          </p:cNvPr>
          <p:cNvGrpSpPr/>
          <p:nvPr/>
        </p:nvGrpSpPr>
        <p:grpSpPr>
          <a:xfrm>
            <a:off x="306582" y="3418666"/>
            <a:ext cx="2609224" cy="643538"/>
            <a:chOff x="330424" y="3751799"/>
            <a:chExt cx="15193725" cy="3747377"/>
          </a:xfrm>
        </p:grpSpPr>
        <p:sp>
          <p:nvSpPr>
            <p:cNvPr id="133" name="Arrow: Pentagon 132">
              <a:extLst>
                <a:ext uri="{FF2B5EF4-FFF2-40B4-BE49-F238E27FC236}">
                  <a16:creationId xmlns:a16="http://schemas.microsoft.com/office/drawing/2014/main" id="{78F3665B-FA4C-4A76-91AD-68CD879A9573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AA7FBFB4-9541-4EB2-BE6E-059E566BB788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8523BA2C-4A38-408A-866C-51FCE92FB277}"/>
                </a:ext>
              </a:extLst>
            </p:cNvPr>
            <p:cNvCxnSpPr>
              <a:cxnSpLocks/>
              <a:endCxn id="171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75B54E52-52BF-422B-8BF7-4DBF514674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EB67149A-995A-47B3-81B8-20544C574E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60A83319-F212-4DB0-8594-1E0AFD0BC2E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A7A7E45F-7D28-4EE2-81C4-1D0D3ACBE77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C44C5CEE-1273-44C0-ACCF-1A8A2BEEC722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1AB1CCE7-B3E0-42BB-B443-9392B9D1FAE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CAA6F374-B163-4EA1-A15C-51D917B9FBC7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7788BC8-82A4-4A65-A1B9-FAD482EDA6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53D1FA43-212B-4421-A7C3-A1A2D5038BD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2869D18A-6623-43DE-9B37-34F78AF36F14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2604FE9C-F98D-42CF-B99B-DE4440A931B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0040B3FC-6379-4343-B16E-C9860B01BF5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1ADA8895-08B2-42C1-8AF5-47927074CF4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4147A96C-4C87-47A2-BF2F-937F18BB02B8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DB6E0B26-C93E-4CB3-94BE-7A849F035440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96683537-B485-431D-85CE-3647F7EFF636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3619A261-A33D-458F-93F9-B43439F9EE88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B94033BA-103F-4581-84BB-667D60605CB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AC4C0176-0DAE-4991-849F-D5B145EDA3D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595EB588-0488-49BE-8C92-452D659BBD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C2EDB38F-F59D-4D10-A47F-5B5F371B8CA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57D6D1A2-493D-4A7D-8DBB-37D742ED12ED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4579C7A4-5F95-47FE-BD8C-B59C8AB668E3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4956FD33-74F1-4EE5-8B39-6DCC46BC6F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FE59B834-0049-4D96-B252-86E401678EF3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3048EDE5-D1E1-403C-8D8F-DB3076C282E7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2BF801FF-4225-4B07-B965-CFE07371187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F4FD6FFE-7468-45F1-A739-DC850B379583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19D90097-036E-4932-A6EC-836B717CB350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B5DD543C-B00C-4161-BD8B-44161024F844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B6E65E1C-CCF3-43F5-856E-82D847128BFE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118286D7-30EC-4732-9AEA-A2706C49917F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D167730E-18C4-45E1-8522-9DD6F7B6727A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DDB2FE05-8BCB-4216-98ED-091BAA0DA4F9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158DC7E7-A081-4F96-B35D-46F637B3D5FD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D5DD94BA-4CBD-4080-AE8F-6B37D92FF327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7DEF27DA-C46F-417A-97D5-F91A67508E2A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CE8B870D-D994-4953-9909-7F08768778C9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466F828B-EDE4-4481-91E7-51BCFEAEA867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4A9FF89F-54AC-49CD-9DA3-B515D76B8145}"/>
              </a:ext>
            </a:extLst>
          </p:cNvPr>
          <p:cNvGrpSpPr/>
          <p:nvPr/>
        </p:nvGrpSpPr>
        <p:grpSpPr>
          <a:xfrm>
            <a:off x="4820965" y="2272282"/>
            <a:ext cx="2609224" cy="643538"/>
            <a:chOff x="330424" y="3751799"/>
            <a:chExt cx="15193725" cy="3747377"/>
          </a:xfrm>
        </p:grpSpPr>
        <p:sp>
          <p:nvSpPr>
            <p:cNvPr id="176" name="Arrow: Pentagon 175">
              <a:extLst>
                <a:ext uri="{FF2B5EF4-FFF2-40B4-BE49-F238E27FC236}">
                  <a16:creationId xmlns:a16="http://schemas.microsoft.com/office/drawing/2014/main" id="{4E43399E-9DF2-4A52-B834-3079CF55CF8B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F5598CDB-B5B4-4C49-96A0-38F5798DB6D9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E61B36B0-C187-45DD-91FC-33B7DABF7CC4}"/>
                </a:ext>
              </a:extLst>
            </p:cNvPr>
            <p:cNvCxnSpPr>
              <a:cxnSpLocks/>
              <a:endCxn id="214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C453AD55-F7C0-4C0B-88BC-20DA49762A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2573F46C-D71A-4E35-816C-F601F0C5731D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E9025446-10F5-465B-978C-02FBD07936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82" name="Oval 181">
              <a:extLst>
                <a:ext uri="{FF2B5EF4-FFF2-40B4-BE49-F238E27FC236}">
                  <a16:creationId xmlns:a16="http://schemas.microsoft.com/office/drawing/2014/main" id="{2651F025-D162-40E5-9320-214E18484A9D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E2C1ADC2-F1C4-4E87-A1C0-E65AE31A223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50AA859C-C58E-46AE-B6B8-5921A6AA6A4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DB8571A5-E811-4E51-A595-11F03C9330C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B9F94A1D-0A69-4DCE-B16F-9278CE76EC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CF826511-9911-4EF6-AD7A-9C6C19F65E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329EF371-31D5-4719-B575-43E8878EB822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0031CF10-853A-4871-B9E2-96CA3646AAD3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4DF865BD-7B4E-4A3C-9E97-6BE714CD85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91" name="Group 190">
              <a:extLst>
                <a:ext uri="{FF2B5EF4-FFF2-40B4-BE49-F238E27FC236}">
                  <a16:creationId xmlns:a16="http://schemas.microsoft.com/office/drawing/2014/main" id="{3AA5B176-0D15-45D2-9098-F897328521C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52533170-4A1E-4569-9EE0-FE62D2B464B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0816587E-A5B3-4AAD-96C9-7FC4B20A6C02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F1B08F58-779A-4AC6-8644-DB62E58EACC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4D6ED198-4239-4A61-A11A-8C2377A818AB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7724440D-CB31-4E46-8148-4415CBCEFFAB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93" name="Straight Connector 192">
              <a:extLst>
                <a:ext uri="{FF2B5EF4-FFF2-40B4-BE49-F238E27FC236}">
                  <a16:creationId xmlns:a16="http://schemas.microsoft.com/office/drawing/2014/main" id="{40B4184A-E938-4A63-94FB-6B93F361CB2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4" name="Straight Connector 193">
              <a:extLst>
                <a:ext uri="{FF2B5EF4-FFF2-40B4-BE49-F238E27FC236}">
                  <a16:creationId xmlns:a16="http://schemas.microsoft.com/office/drawing/2014/main" id="{9BFCF478-927E-488F-B47A-DE99ED5E714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id="{1699F181-EE12-400C-9F42-7FFFC867FC7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96" name="Oval 195">
              <a:extLst>
                <a:ext uri="{FF2B5EF4-FFF2-40B4-BE49-F238E27FC236}">
                  <a16:creationId xmlns:a16="http://schemas.microsoft.com/office/drawing/2014/main" id="{54F49936-B06F-4EB1-8FD6-2CBB3928FAF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3A94B94F-F6EA-4C68-AB2F-BCC1C7DF250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F2B8E691-604A-4E91-A9AA-CB79E876E0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56833142-2E68-4C98-9F6B-BD7AF6A6D5F6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580FDBCD-B90B-469E-9D27-A1E6AC040C0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98F32B92-1E24-4784-9853-8AE60F8F3D2A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CF664FC4-5466-4D98-9EDE-AC7D40193DCF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47838CDC-C108-4535-8EF2-2532FDC48AA6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00" name="Oval 199">
              <a:extLst>
                <a:ext uri="{FF2B5EF4-FFF2-40B4-BE49-F238E27FC236}">
                  <a16:creationId xmlns:a16="http://schemas.microsoft.com/office/drawing/2014/main" id="{C9D9A534-D26A-483D-A77D-1163E3C68890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8130F03E-4333-4AF7-8793-C74CBFBE15A5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8DBC2FFC-D32E-421C-8C40-2675DCCAE02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3357EAA7-3335-4730-99DE-1C41F965415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63A25D07-CDD0-4081-A523-77565289E4F6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22392A4B-0FFA-49A6-8682-C15500AC2AD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9A0DB264-097F-4368-AC8A-8FC93C113C4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7293AC79-5257-4085-9504-969EBE0108D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A3F8DD6E-CF8B-4A6B-98A9-91F11A378ED0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401770A1-8CF7-4191-9078-5F0D8A88AA22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E44BBA85-F7A4-4E19-96B5-DEB0F16479F9}"/>
              </a:ext>
            </a:extLst>
          </p:cNvPr>
          <p:cNvGrpSpPr/>
          <p:nvPr/>
        </p:nvGrpSpPr>
        <p:grpSpPr>
          <a:xfrm>
            <a:off x="7664106" y="1363757"/>
            <a:ext cx="2609224" cy="643538"/>
            <a:chOff x="330424" y="3751799"/>
            <a:chExt cx="15193725" cy="3747377"/>
          </a:xfrm>
        </p:grpSpPr>
        <p:sp>
          <p:nvSpPr>
            <p:cNvPr id="219" name="Arrow: Pentagon 218">
              <a:extLst>
                <a:ext uri="{FF2B5EF4-FFF2-40B4-BE49-F238E27FC236}">
                  <a16:creationId xmlns:a16="http://schemas.microsoft.com/office/drawing/2014/main" id="{912457BD-37FE-44BA-8075-01FA1F235F1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721E9EC6-9F3D-4617-A032-588A5785C0A1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CC63D01A-B7E2-4E42-BF58-7B59D0B4022C}"/>
                </a:ext>
              </a:extLst>
            </p:cNvPr>
            <p:cNvCxnSpPr>
              <a:cxnSpLocks/>
              <a:endCxn id="257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92B485AA-4790-4CAE-B0E2-7A221EDD50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3" name="Straight Connector 222">
              <a:extLst>
                <a:ext uri="{FF2B5EF4-FFF2-40B4-BE49-F238E27FC236}">
                  <a16:creationId xmlns:a16="http://schemas.microsoft.com/office/drawing/2014/main" id="{55FFC59B-E848-46D1-A516-452BAF29DD10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59005F6A-A17D-4198-AA69-C149979F5E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25" name="Oval 224">
              <a:extLst>
                <a:ext uri="{FF2B5EF4-FFF2-40B4-BE49-F238E27FC236}">
                  <a16:creationId xmlns:a16="http://schemas.microsoft.com/office/drawing/2014/main" id="{B4D2363B-2BC8-4E0D-B889-F91E82DEF41E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4F1BC29F-2B1B-4DE1-B925-BA93E41B5F3A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286C9516-2C89-4FC4-A58B-E1F35E1F21D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DC3AA93E-EA6F-40E3-9FF8-9F23ABCA7D0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2D5754AE-0618-4D75-B8E5-2638F83DE4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4E25BE72-1FC6-47A0-B97A-2025A20A052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CDEA8A25-F6C2-4541-8D36-6987AAF8E885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668E0105-B82C-4748-8CAA-31681AD9B849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0B159919-BB62-4FDF-B55E-80EE57E8C3B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CB1472B-56F1-4425-9B82-2F322DAD60E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1DAB317A-15D3-4DEA-8C6A-9D15189955DD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8" name="Oval 257">
                <a:extLst>
                  <a:ext uri="{FF2B5EF4-FFF2-40B4-BE49-F238E27FC236}">
                    <a16:creationId xmlns:a16="http://schemas.microsoft.com/office/drawing/2014/main" id="{66ABF297-6038-4489-AC93-47A93668D67A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9" name="Oval 258">
                <a:extLst>
                  <a:ext uri="{FF2B5EF4-FFF2-40B4-BE49-F238E27FC236}">
                    <a16:creationId xmlns:a16="http://schemas.microsoft.com/office/drawing/2014/main" id="{D579E941-69A2-4E80-91FE-DC69E06E4D8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60" name="Oval 259">
                <a:extLst>
                  <a:ext uri="{FF2B5EF4-FFF2-40B4-BE49-F238E27FC236}">
                    <a16:creationId xmlns:a16="http://schemas.microsoft.com/office/drawing/2014/main" id="{2722FA16-6C8B-4978-8802-243EB5A6CB56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1590A85A-5A17-4EC3-B9F7-BA8875CC1FE4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3C7C909E-FE04-45D4-86F1-FD58A2C40F7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397B38E8-E5B4-4FC1-A0C4-3FE5D7D572C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38" name="Oval 237">
              <a:extLst>
                <a:ext uri="{FF2B5EF4-FFF2-40B4-BE49-F238E27FC236}">
                  <a16:creationId xmlns:a16="http://schemas.microsoft.com/office/drawing/2014/main" id="{C7DB8D8C-34C5-464A-BEB6-98F8003E373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BC382616-E2D3-4F3D-A740-2E1BC48A433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8488D7C4-37B0-4E83-85FE-02C39F2298CA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EF5F3764-0F04-45F8-8191-CD98BDB3D9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1C5758DF-01B0-4DB6-8199-7A7A72F26A4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0DD88EE6-FFB6-4C76-B5CA-2A7FFC1FD4B6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D284D982-97F2-4F70-9C03-AFA6254CD318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5" name="Oval 254">
                <a:extLst>
                  <a:ext uri="{FF2B5EF4-FFF2-40B4-BE49-F238E27FC236}">
                    <a16:creationId xmlns:a16="http://schemas.microsoft.com/office/drawing/2014/main" id="{3B6BF3CE-8D03-437A-A457-0066C03DC1C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7872A1A6-B27A-4EAF-B543-C8F11EDEA64D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5300D033-777D-48E0-9A68-D611A87E983D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AFC5895E-4CEF-487B-8C04-04B2DE74F3C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4DB76D9F-673D-4726-9B9F-FAA3332C9F60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02F86C5D-5591-4D05-894D-6045F295A5EE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8796D5D9-0501-43FD-B4CB-F89DBF5772F7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DABFE8D3-2766-4490-BA18-FFD87DC104EC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ACA48074-E162-4AA3-8D9B-63ECD53CBAA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5A38F411-6D18-4A05-9CB9-C2382B51BAE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1" name="Oval 250">
              <a:extLst>
                <a:ext uri="{FF2B5EF4-FFF2-40B4-BE49-F238E27FC236}">
                  <a16:creationId xmlns:a16="http://schemas.microsoft.com/office/drawing/2014/main" id="{CD648692-C426-4754-B9A5-63C82AA4FC92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9FAB3529-D908-423C-9246-60D284923913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3E95C4B6-7DAF-49FD-97EF-2F9CD6EFA5D1}"/>
              </a:ext>
            </a:extLst>
          </p:cNvPr>
          <p:cNvGrpSpPr/>
          <p:nvPr/>
        </p:nvGrpSpPr>
        <p:grpSpPr>
          <a:xfrm>
            <a:off x="1022028" y="4717393"/>
            <a:ext cx="2609224" cy="643538"/>
            <a:chOff x="330424" y="3751799"/>
            <a:chExt cx="15193725" cy="3747377"/>
          </a:xfrm>
        </p:grpSpPr>
        <p:sp>
          <p:nvSpPr>
            <p:cNvPr id="262" name="Arrow: Pentagon 261">
              <a:extLst>
                <a:ext uri="{FF2B5EF4-FFF2-40B4-BE49-F238E27FC236}">
                  <a16:creationId xmlns:a16="http://schemas.microsoft.com/office/drawing/2014/main" id="{59220CE7-BC5F-4629-968E-9DA1D184FF2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933B6C7C-D8AE-4A32-9101-F7BB0AAD8B76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2799BD38-591A-40A7-BE12-48351D0913F1}"/>
                </a:ext>
              </a:extLst>
            </p:cNvPr>
            <p:cNvCxnSpPr>
              <a:cxnSpLocks/>
              <a:endCxn id="30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6B0EEAA9-E579-4723-834C-A113554B49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FC296A09-4C45-467F-BE9E-B69EFAE00FC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FA13ECCB-28C3-4D53-A781-9C9FCAD0B0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68" name="Oval 267">
              <a:extLst>
                <a:ext uri="{FF2B5EF4-FFF2-40B4-BE49-F238E27FC236}">
                  <a16:creationId xmlns:a16="http://schemas.microsoft.com/office/drawing/2014/main" id="{781D4D90-C5BA-4F95-981C-4561511B26B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69" name="Oval 268">
              <a:extLst>
                <a:ext uri="{FF2B5EF4-FFF2-40B4-BE49-F238E27FC236}">
                  <a16:creationId xmlns:a16="http://schemas.microsoft.com/office/drawing/2014/main" id="{157AA959-29B7-4A96-9553-753E40261A96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CED939AC-948B-4177-A1A7-651BCD06AE6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0397D200-A7CA-49D4-9A3D-C1656D9B1978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5DFEC054-905C-4178-A22B-3C500B5675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FB588578-57F4-4321-8117-9EAA80F855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4" name="Straight Connector 273">
              <a:extLst>
                <a:ext uri="{FF2B5EF4-FFF2-40B4-BE49-F238E27FC236}">
                  <a16:creationId xmlns:a16="http://schemas.microsoft.com/office/drawing/2014/main" id="{5DF2BAE9-F847-4B2D-A115-A7444D69E197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238731BC-A504-4B1A-88EB-1F58E67557E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E39AD1D8-627F-4D7A-8D62-29DD007EFB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77" name="Group 276">
              <a:extLst>
                <a:ext uri="{FF2B5EF4-FFF2-40B4-BE49-F238E27FC236}">
                  <a16:creationId xmlns:a16="http://schemas.microsoft.com/office/drawing/2014/main" id="{FCDEDBBE-F708-4DC7-BEB5-8F479CDC2EFE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00" name="Oval 299">
                <a:extLst>
                  <a:ext uri="{FF2B5EF4-FFF2-40B4-BE49-F238E27FC236}">
                    <a16:creationId xmlns:a16="http://schemas.microsoft.com/office/drawing/2014/main" id="{1C87ACE0-423D-45E8-9CDE-4FD948F01FA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1" name="Oval 300">
                <a:extLst>
                  <a:ext uri="{FF2B5EF4-FFF2-40B4-BE49-F238E27FC236}">
                    <a16:creationId xmlns:a16="http://schemas.microsoft.com/office/drawing/2014/main" id="{50286F44-A848-4729-9364-7A75F86CE3C4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2" name="Oval 301">
                <a:extLst>
                  <a:ext uri="{FF2B5EF4-FFF2-40B4-BE49-F238E27FC236}">
                    <a16:creationId xmlns:a16="http://schemas.microsoft.com/office/drawing/2014/main" id="{C105827C-8B0F-43DB-AC49-D1ACDEF59669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3" name="Oval 302">
                <a:extLst>
                  <a:ext uri="{FF2B5EF4-FFF2-40B4-BE49-F238E27FC236}">
                    <a16:creationId xmlns:a16="http://schemas.microsoft.com/office/drawing/2014/main" id="{21D6C5EC-0471-4B6D-80D7-2C3BBC2DEBAB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78" name="Oval 277">
              <a:extLst>
                <a:ext uri="{FF2B5EF4-FFF2-40B4-BE49-F238E27FC236}">
                  <a16:creationId xmlns:a16="http://schemas.microsoft.com/office/drawing/2014/main" id="{E96CF4C3-1FE3-4D36-A3F3-9854F53FC05D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279" name="Straight Connector 278">
              <a:extLst>
                <a:ext uri="{FF2B5EF4-FFF2-40B4-BE49-F238E27FC236}">
                  <a16:creationId xmlns:a16="http://schemas.microsoft.com/office/drawing/2014/main" id="{4BB54562-B259-43B2-B974-72DE6F7881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0" name="Straight Connector 279">
              <a:extLst>
                <a:ext uri="{FF2B5EF4-FFF2-40B4-BE49-F238E27FC236}">
                  <a16:creationId xmlns:a16="http://schemas.microsoft.com/office/drawing/2014/main" id="{F3B54BE7-DCB6-4CB5-98BC-38E1B8BD14C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4C075300-82A9-49FE-8087-84E346AAE68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82" name="Oval 281">
              <a:extLst>
                <a:ext uri="{FF2B5EF4-FFF2-40B4-BE49-F238E27FC236}">
                  <a16:creationId xmlns:a16="http://schemas.microsoft.com/office/drawing/2014/main" id="{12263820-FE96-459E-84F7-5D927E46E83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83" name="Straight Connector 282">
              <a:extLst>
                <a:ext uri="{FF2B5EF4-FFF2-40B4-BE49-F238E27FC236}">
                  <a16:creationId xmlns:a16="http://schemas.microsoft.com/office/drawing/2014/main" id="{963EBD4F-B736-401B-A3A7-92ECB674CB3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4" name="Straight Connector 283">
              <a:extLst>
                <a:ext uri="{FF2B5EF4-FFF2-40B4-BE49-F238E27FC236}">
                  <a16:creationId xmlns:a16="http://schemas.microsoft.com/office/drawing/2014/main" id="{45BC2A26-1BD3-427E-8D39-56AC0E71DE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85" name="Group 284">
              <a:extLst>
                <a:ext uri="{FF2B5EF4-FFF2-40B4-BE49-F238E27FC236}">
                  <a16:creationId xmlns:a16="http://schemas.microsoft.com/office/drawing/2014/main" id="{A5FCD22C-5989-4A07-ACE8-069BD99DAEB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96" name="Oval 295">
                <a:extLst>
                  <a:ext uri="{FF2B5EF4-FFF2-40B4-BE49-F238E27FC236}">
                    <a16:creationId xmlns:a16="http://schemas.microsoft.com/office/drawing/2014/main" id="{599C5388-F742-43D3-A5E8-380DE5D20FC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7" name="Oval 296">
                <a:extLst>
                  <a:ext uri="{FF2B5EF4-FFF2-40B4-BE49-F238E27FC236}">
                    <a16:creationId xmlns:a16="http://schemas.microsoft.com/office/drawing/2014/main" id="{FF83E0F8-7F95-4764-846A-C4FB1E0EF4C7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8" name="Oval 297">
                <a:extLst>
                  <a:ext uri="{FF2B5EF4-FFF2-40B4-BE49-F238E27FC236}">
                    <a16:creationId xmlns:a16="http://schemas.microsoft.com/office/drawing/2014/main" id="{DD9CF2DA-78D5-4DCC-ADD9-90D0DAE2755C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9" name="Oval 298">
                <a:extLst>
                  <a:ext uri="{FF2B5EF4-FFF2-40B4-BE49-F238E27FC236}">
                    <a16:creationId xmlns:a16="http://schemas.microsoft.com/office/drawing/2014/main" id="{5A3F5C11-E169-46C2-BEA9-98AB65F441D1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86" name="Oval 285">
              <a:extLst>
                <a:ext uri="{FF2B5EF4-FFF2-40B4-BE49-F238E27FC236}">
                  <a16:creationId xmlns:a16="http://schemas.microsoft.com/office/drawing/2014/main" id="{7E3940E8-8D60-4225-A03F-E65302EBE230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6006F577-5E59-4DB2-99A5-C1253B9C9DE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D3E2B54B-DA74-4C5C-8955-AE8755285996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110ED77D-0C68-400E-8608-2B0D34DB001A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0F14B6E4-B2DA-48A9-942A-A5E2FBECD86E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BD693E33-FB6D-485D-837F-5FDC947F2A57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479E4BE8-4DC5-45B0-954F-0AF944EE011A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3" name="Oval 292">
              <a:extLst>
                <a:ext uri="{FF2B5EF4-FFF2-40B4-BE49-F238E27FC236}">
                  <a16:creationId xmlns:a16="http://schemas.microsoft.com/office/drawing/2014/main" id="{5AE20CBB-EC21-4090-9F4D-2472BD7F777B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4" name="Oval 293">
              <a:extLst>
                <a:ext uri="{FF2B5EF4-FFF2-40B4-BE49-F238E27FC236}">
                  <a16:creationId xmlns:a16="http://schemas.microsoft.com/office/drawing/2014/main" id="{3C56E13B-4ECF-4EB5-B6C2-0A0640B986D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5" name="Oval 294">
              <a:extLst>
                <a:ext uri="{FF2B5EF4-FFF2-40B4-BE49-F238E27FC236}">
                  <a16:creationId xmlns:a16="http://schemas.microsoft.com/office/drawing/2014/main" id="{E444E375-F1F1-41FB-9BA1-AB8ABA01C685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04" name="Group 303">
            <a:extLst>
              <a:ext uri="{FF2B5EF4-FFF2-40B4-BE49-F238E27FC236}">
                <a16:creationId xmlns:a16="http://schemas.microsoft.com/office/drawing/2014/main" id="{F01C86DD-47AD-4E6E-94E4-2EA98A6C7783}"/>
              </a:ext>
            </a:extLst>
          </p:cNvPr>
          <p:cNvGrpSpPr/>
          <p:nvPr/>
        </p:nvGrpSpPr>
        <p:grpSpPr>
          <a:xfrm>
            <a:off x="3655830" y="1196498"/>
            <a:ext cx="2609224" cy="643538"/>
            <a:chOff x="330424" y="3751799"/>
            <a:chExt cx="15193725" cy="3747377"/>
          </a:xfrm>
        </p:grpSpPr>
        <p:sp>
          <p:nvSpPr>
            <p:cNvPr id="305" name="Arrow: Pentagon 304">
              <a:extLst>
                <a:ext uri="{FF2B5EF4-FFF2-40B4-BE49-F238E27FC236}">
                  <a16:creationId xmlns:a16="http://schemas.microsoft.com/office/drawing/2014/main" id="{E657C682-A83F-4A28-BBAF-91497D67FBC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06" name="Straight Connector 305">
              <a:extLst>
                <a:ext uri="{FF2B5EF4-FFF2-40B4-BE49-F238E27FC236}">
                  <a16:creationId xmlns:a16="http://schemas.microsoft.com/office/drawing/2014/main" id="{47B8115F-AF72-45AF-937A-2376A14AE5EF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7" name="Straight Connector 306">
              <a:extLst>
                <a:ext uri="{FF2B5EF4-FFF2-40B4-BE49-F238E27FC236}">
                  <a16:creationId xmlns:a16="http://schemas.microsoft.com/office/drawing/2014/main" id="{7A8FB734-81A6-46FA-A390-EE8802B3B335}"/>
                </a:ext>
              </a:extLst>
            </p:cNvPr>
            <p:cNvCxnSpPr>
              <a:cxnSpLocks/>
              <a:endCxn id="343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8" name="Straight Connector 307">
              <a:extLst>
                <a:ext uri="{FF2B5EF4-FFF2-40B4-BE49-F238E27FC236}">
                  <a16:creationId xmlns:a16="http://schemas.microsoft.com/office/drawing/2014/main" id="{E245BEAE-F855-47ED-9C28-FE97FD4BEA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9" name="Straight Connector 308">
              <a:extLst>
                <a:ext uri="{FF2B5EF4-FFF2-40B4-BE49-F238E27FC236}">
                  <a16:creationId xmlns:a16="http://schemas.microsoft.com/office/drawing/2014/main" id="{2B1ADCDA-5EC7-45D9-A26B-D83564951477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0" name="Straight Connector 309">
              <a:extLst>
                <a:ext uri="{FF2B5EF4-FFF2-40B4-BE49-F238E27FC236}">
                  <a16:creationId xmlns:a16="http://schemas.microsoft.com/office/drawing/2014/main" id="{8E4E9506-4988-425C-8AE9-0BC14CF413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27201BC0-3053-43CC-A52B-44A1D7216C9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12" name="Oval 311">
              <a:extLst>
                <a:ext uri="{FF2B5EF4-FFF2-40B4-BE49-F238E27FC236}">
                  <a16:creationId xmlns:a16="http://schemas.microsoft.com/office/drawing/2014/main" id="{B41DF409-927B-47AC-991C-585FDC2A0980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13" name="Straight Connector 312">
              <a:extLst>
                <a:ext uri="{FF2B5EF4-FFF2-40B4-BE49-F238E27FC236}">
                  <a16:creationId xmlns:a16="http://schemas.microsoft.com/office/drawing/2014/main" id="{CB3DBD37-2DC4-468B-B57C-126051627C8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4" name="Straight Connector 313">
              <a:extLst>
                <a:ext uri="{FF2B5EF4-FFF2-40B4-BE49-F238E27FC236}">
                  <a16:creationId xmlns:a16="http://schemas.microsoft.com/office/drawing/2014/main" id="{7EEBF94E-508A-4238-BC54-5F06598E1012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5" name="Straight Connector 314">
              <a:extLst>
                <a:ext uri="{FF2B5EF4-FFF2-40B4-BE49-F238E27FC236}">
                  <a16:creationId xmlns:a16="http://schemas.microsoft.com/office/drawing/2014/main" id="{BE759A3D-A058-48DC-B41C-63E2CC19ED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6" name="Straight Connector 315">
              <a:extLst>
                <a:ext uri="{FF2B5EF4-FFF2-40B4-BE49-F238E27FC236}">
                  <a16:creationId xmlns:a16="http://schemas.microsoft.com/office/drawing/2014/main" id="{97185379-C17C-4B16-992F-AB39AA68A5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7" name="Straight Connector 316">
              <a:extLst>
                <a:ext uri="{FF2B5EF4-FFF2-40B4-BE49-F238E27FC236}">
                  <a16:creationId xmlns:a16="http://schemas.microsoft.com/office/drawing/2014/main" id="{C2954668-75D6-4DEF-884E-01BA253E5EF2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8" name="Straight Connector 317">
              <a:extLst>
                <a:ext uri="{FF2B5EF4-FFF2-40B4-BE49-F238E27FC236}">
                  <a16:creationId xmlns:a16="http://schemas.microsoft.com/office/drawing/2014/main" id="{B67E653B-A659-4560-9704-FCBA8BE3C20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9" name="Straight Connector 318">
              <a:extLst>
                <a:ext uri="{FF2B5EF4-FFF2-40B4-BE49-F238E27FC236}">
                  <a16:creationId xmlns:a16="http://schemas.microsoft.com/office/drawing/2014/main" id="{0B00F0B0-42CC-4D64-BCA7-F7F4F8D3361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20" name="Group 319">
              <a:extLst>
                <a:ext uri="{FF2B5EF4-FFF2-40B4-BE49-F238E27FC236}">
                  <a16:creationId xmlns:a16="http://schemas.microsoft.com/office/drawing/2014/main" id="{EBD71495-4294-4A01-9169-0D32FC4CA1F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43" name="Oval 342">
                <a:extLst>
                  <a:ext uri="{FF2B5EF4-FFF2-40B4-BE49-F238E27FC236}">
                    <a16:creationId xmlns:a16="http://schemas.microsoft.com/office/drawing/2014/main" id="{AE36F710-D3A7-474A-B4B1-1A7ACADE3349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4" name="Oval 343">
                <a:extLst>
                  <a:ext uri="{FF2B5EF4-FFF2-40B4-BE49-F238E27FC236}">
                    <a16:creationId xmlns:a16="http://schemas.microsoft.com/office/drawing/2014/main" id="{D90382DA-33F4-4E4E-BAB3-46729FBBA63F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5" name="Oval 344">
                <a:extLst>
                  <a:ext uri="{FF2B5EF4-FFF2-40B4-BE49-F238E27FC236}">
                    <a16:creationId xmlns:a16="http://schemas.microsoft.com/office/drawing/2014/main" id="{AA385627-1BAA-4546-8F6C-A8EB0C6B1BFC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6" name="Oval 345">
                <a:extLst>
                  <a:ext uri="{FF2B5EF4-FFF2-40B4-BE49-F238E27FC236}">
                    <a16:creationId xmlns:a16="http://schemas.microsoft.com/office/drawing/2014/main" id="{68011CA6-A9A8-4947-AFA9-AF34C123DD4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21" name="Oval 320">
              <a:extLst>
                <a:ext uri="{FF2B5EF4-FFF2-40B4-BE49-F238E27FC236}">
                  <a16:creationId xmlns:a16="http://schemas.microsoft.com/office/drawing/2014/main" id="{E7B74C4E-08E7-48DF-B0A1-C8304D0D0EA7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322" name="Straight Connector 321">
              <a:extLst>
                <a:ext uri="{FF2B5EF4-FFF2-40B4-BE49-F238E27FC236}">
                  <a16:creationId xmlns:a16="http://schemas.microsoft.com/office/drawing/2014/main" id="{46C67286-7F37-477D-B5AD-CD1D7FEA10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3" name="Straight Connector 322">
              <a:extLst>
                <a:ext uri="{FF2B5EF4-FFF2-40B4-BE49-F238E27FC236}">
                  <a16:creationId xmlns:a16="http://schemas.microsoft.com/office/drawing/2014/main" id="{127A47A5-C9E2-44B2-9295-A90D53D6AD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24" name="Oval 323">
              <a:extLst>
                <a:ext uri="{FF2B5EF4-FFF2-40B4-BE49-F238E27FC236}">
                  <a16:creationId xmlns:a16="http://schemas.microsoft.com/office/drawing/2014/main" id="{4DA88D0E-36CE-4920-825B-95ABF8E78211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25" name="Oval 324">
              <a:extLst>
                <a:ext uri="{FF2B5EF4-FFF2-40B4-BE49-F238E27FC236}">
                  <a16:creationId xmlns:a16="http://schemas.microsoft.com/office/drawing/2014/main" id="{BCB95280-934C-4C8E-A82D-42B8816290A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26" name="Straight Connector 325">
              <a:extLst>
                <a:ext uri="{FF2B5EF4-FFF2-40B4-BE49-F238E27FC236}">
                  <a16:creationId xmlns:a16="http://schemas.microsoft.com/office/drawing/2014/main" id="{3A28DC07-C7E1-4B72-BB92-790D52692E8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7" name="Straight Connector 326">
              <a:extLst>
                <a:ext uri="{FF2B5EF4-FFF2-40B4-BE49-F238E27FC236}">
                  <a16:creationId xmlns:a16="http://schemas.microsoft.com/office/drawing/2014/main" id="{84CD5E0D-8206-45C6-A0A0-01F165063C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28" name="Group 327">
              <a:extLst>
                <a:ext uri="{FF2B5EF4-FFF2-40B4-BE49-F238E27FC236}">
                  <a16:creationId xmlns:a16="http://schemas.microsoft.com/office/drawing/2014/main" id="{8DFE5A99-4CE8-4D2D-A8E1-B2F416BF6557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339" name="Oval 338">
                <a:extLst>
                  <a:ext uri="{FF2B5EF4-FFF2-40B4-BE49-F238E27FC236}">
                    <a16:creationId xmlns:a16="http://schemas.microsoft.com/office/drawing/2014/main" id="{2C4BDDCD-9BB7-404D-B3B0-4CF3C8075F12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0" name="Oval 339">
                <a:extLst>
                  <a:ext uri="{FF2B5EF4-FFF2-40B4-BE49-F238E27FC236}">
                    <a16:creationId xmlns:a16="http://schemas.microsoft.com/office/drawing/2014/main" id="{C1F2163A-1409-4044-A249-75FBA974915E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1" name="Oval 340">
                <a:extLst>
                  <a:ext uri="{FF2B5EF4-FFF2-40B4-BE49-F238E27FC236}">
                    <a16:creationId xmlns:a16="http://schemas.microsoft.com/office/drawing/2014/main" id="{032CD318-9F79-46F9-9C3B-A74CE8C450F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2" name="Oval 341">
                <a:extLst>
                  <a:ext uri="{FF2B5EF4-FFF2-40B4-BE49-F238E27FC236}">
                    <a16:creationId xmlns:a16="http://schemas.microsoft.com/office/drawing/2014/main" id="{16276CDF-0375-446A-A15E-8DD14E3DCF6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29" name="Oval 328">
              <a:extLst>
                <a:ext uri="{FF2B5EF4-FFF2-40B4-BE49-F238E27FC236}">
                  <a16:creationId xmlns:a16="http://schemas.microsoft.com/office/drawing/2014/main" id="{A7B4EACC-C834-4491-8C02-BF626A07D78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0" name="Oval 329">
              <a:extLst>
                <a:ext uri="{FF2B5EF4-FFF2-40B4-BE49-F238E27FC236}">
                  <a16:creationId xmlns:a16="http://schemas.microsoft.com/office/drawing/2014/main" id="{0BE60708-8C11-40CD-BEEF-438922009FE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1" name="Oval 330">
              <a:extLst>
                <a:ext uri="{FF2B5EF4-FFF2-40B4-BE49-F238E27FC236}">
                  <a16:creationId xmlns:a16="http://schemas.microsoft.com/office/drawing/2014/main" id="{0EBDB46F-BF51-4B57-8D26-F71C52B2FCF1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2" name="Oval 331">
              <a:extLst>
                <a:ext uri="{FF2B5EF4-FFF2-40B4-BE49-F238E27FC236}">
                  <a16:creationId xmlns:a16="http://schemas.microsoft.com/office/drawing/2014/main" id="{EC937090-0230-4E41-B52A-8AA9D8073F8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3" name="Oval 332">
              <a:extLst>
                <a:ext uri="{FF2B5EF4-FFF2-40B4-BE49-F238E27FC236}">
                  <a16:creationId xmlns:a16="http://schemas.microsoft.com/office/drawing/2014/main" id="{BC813F56-3AE9-48D7-B3DB-A9ED9D485E7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4" name="Oval 333">
              <a:extLst>
                <a:ext uri="{FF2B5EF4-FFF2-40B4-BE49-F238E27FC236}">
                  <a16:creationId xmlns:a16="http://schemas.microsoft.com/office/drawing/2014/main" id="{D9F52E51-7C9D-45CE-8158-F2CAFDEA094E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5" name="Oval 334">
              <a:extLst>
                <a:ext uri="{FF2B5EF4-FFF2-40B4-BE49-F238E27FC236}">
                  <a16:creationId xmlns:a16="http://schemas.microsoft.com/office/drawing/2014/main" id="{874009A3-0138-43A3-9F5A-ACD6AA51F871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6" name="Oval 335">
              <a:extLst>
                <a:ext uri="{FF2B5EF4-FFF2-40B4-BE49-F238E27FC236}">
                  <a16:creationId xmlns:a16="http://schemas.microsoft.com/office/drawing/2014/main" id="{01A7D076-6A63-40F6-8107-A3E3195D65B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7" name="Oval 336">
              <a:extLst>
                <a:ext uri="{FF2B5EF4-FFF2-40B4-BE49-F238E27FC236}">
                  <a16:creationId xmlns:a16="http://schemas.microsoft.com/office/drawing/2014/main" id="{2EA5D818-3201-4301-AD87-4A7050951191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8" name="Oval 337">
              <a:extLst>
                <a:ext uri="{FF2B5EF4-FFF2-40B4-BE49-F238E27FC236}">
                  <a16:creationId xmlns:a16="http://schemas.microsoft.com/office/drawing/2014/main" id="{26EEDF7B-BCF9-46CC-9EDC-70274B25A9C7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47" name="Group 346">
            <a:extLst>
              <a:ext uri="{FF2B5EF4-FFF2-40B4-BE49-F238E27FC236}">
                <a16:creationId xmlns:a16="http://schemas.microsoft.com/office/drawing/2014/main" id="{AB3E5A61-3199-4699-B155-5ED02BF89724}"/>
              </a:ext>
            </a:extLst>
          </p:cNvPr>
          <p:cNvGrpSpPr/>
          <p:nvPr/>
        </p:nvGrpSpPr>
        <p:grpSpPr>
          <a:xfrm>
            <a:off x="7658084" y="4336230"/>
            <a:ext cx="2609224" cy="643538"/>
            <a:chOff x="330424" y="3751799"/>
            <a:chExt cx="15193725" cy="3747377"/>
          </a:xfrm>
        </p:grpSpPr>
        <p:sp>
          <p:nvSpPr>
            <p:cNvPr id="348" name="Arrow: Pentagon 347">
              <a:extLst>
                <a:ext uri="{FF2B5EF4-FFF2-40B4-BE49-F238E27FC236}">
                  <a16:creationId xmlns:a16="http://schemas.microsoft.com/office/drawing/2014/main" id="{9229A2C0-4D12-4167-A46D-1AC82949348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49" name="Straight Connector 348">
              <a:extLst>
                <a:ext uri="{FF2B5EF4-FFF2-40B4-BE49-F238E27FC236}">
                  <a16:creationId xmlns:a16="http://schemas.microsoft.com/office/drawing/2014/main" id="{50BE658A-9FB3-41AC-BCAC-C4792EB6B0C5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0" name="Straight Connector 349">
              <a:extLst>
                <a:ext uri="{FF2B5EF4-FFF2-40B4-BE49-F238E27FC236}">
                  <a16:creationId xmlns:a16="http://schemas.microsoft.com/office/drawing/2014/main" id="{4D1FA263-B0DE-4CAD-8A6E-A66A07339A20}"/>
                </a:ext>
              </a:extLst>
            </p:cNvPr>
            <p:cNvCxnSpPr>
              <a:cxnSpLocks/>
              <a:endCxn id="38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1" name="Straight Connector 350">
              <a:extLst>
                <a:ext uri="{FF2B5EF4-FFF2-40B4-BE49-F238E27FC236}">
                  <a16:creationId xmlns:a16="http://schemas.microsoft.com/office/drawing/2014/main" id="{03B73627-CB1F-4867-8A29-C62B979BC7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2" name="Straight Connector 351">
              <a:extLst>
                <a:ext uri="{FF2B5EF4-FFF2-40B4-BE49-F238E27FC236}">
                  <a16:creationId xmlns:a16="http://schemas.microsoft.com/office/drawing/2014/main" id="{88706D86-3C9E-4F42-92CF-4CABE0A512A1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3" name="Straight Connector 352">
              <a:extLst>
                <a:ext uri="{FF2B5EF4-FFF2-40B4-BE49-F238E27FC236}">
                  <a16:creationId xmlns:a16="http://schemas.microsoft.com/office/drawing/2014/main" id="{4E242C81-B836-43BA-943E-7CCCC7B49E9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54" name="Oval 353">
              <a:extLst>
                <a:ext uri="{FF2B5EF4-FFF2-40B4-BE49-F238E27FC236}">
                  <a16:creationId xmlns:a16="http://schemas.microsoft.com/office/drawing/2014/main" id="{C1F41051-7B22-40AD-986E-9DC72D888084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55" name="Oval 354">
              <a:extLst>
                <a:ext uri="{FF2B5EF4-FFF2-40B4-BE49-F238E27FC236}">
                  <a16:creationId xmlns:a16="http://schemas.microsoft.com/office/drawing/2014/main" id="{20D77CEB-206E-4459-A1B4-2E81CD5F3F2C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56" name="Straight Connector 355">
              <a:extLst>
                <a:ext uri="{FF2B5EF4-FFF2-40B4-BE49-F238E27FC236}">
                  <a16:creationId xmlns:a16="http://schemas.microsoft.com/office/drawing/2014/main" id="{D20CA94B-A844-4AB2-B611-C031087CB4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7" name="Straight Connector 356">
              <a:extLst>
                <a:ext uri="{FF2B5EF4-FFF2-40B4-BE49-F238E27FC236}">
                  <a16:creationId xmlns:a16="http://schemas.microsoft.com/office/drawing/2014/main" id="{DC9D3FF2-66EB-4C76-BA1F-34D54706621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8" name="Straight Connector 357">
              <a:extLst>
                <a:ext uri="{FF2B5EF4-FFF2-40B4-BE49-F238E27FC236}">
                  <a16:creationId xmlns:a16="http://schemas.microsoft.com/office/drawing/2014/main" id="{123AB2B0-C9B0-4255-9382-982393C624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9" name="Straight Connector 358">
              <a:extLst>
                <a:ext uri="{FF2B5EF4-FFF2-40B4-BE49-F238E27FC236}">
                  <a16:creationId xmlns:a16="http://schemas.microsoft.com/office/drawing/2014/main" id="{19E9EE26-D94B-454E-806C-8A6DACC196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0" name="Straight Connector 359">
              <a:extLst>
                <a:ext uri="{FF2B5EF4-FFF2-40B4-BE49-F238E27FC236}">
                  <a16:creationId xmlns:a16="http://schemas.microsoft.com/office/drawing/2014/main" id="{57E2D90E-44C1-4B83-8B44-D3E7848EA4AB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1" name="Straight Connector 360">
              <a:extLst>
                <a:ext uri="{FF2B5EF4-FFF2-40B4-BE49-F238E27FC236}">
                  <a16:creationId xmlns:a16="http://schemas.microsoft.com/office/drawing/2014/main" id="{9E04F079-6EE9-42F7-A9C7-16157FE3D16D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2" name="Straight Connector 361">
              <a:extLst>
                <a:ext uri="{FF2B5EF4-FFF2-40B4-BE49-F238E27FC236}">
                  <a16:creationId xmlns:a16="http://schemas.microsoft.com/office/drawing/2014/main" id="{7D2CB014-A0CA-4AF0-9271-2CF6C7EC9C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63" name="Group 362">
              <a:extLst>
                <a:ext uri="{FF2B5EF4-FFF2-40B4-BE49-F238E27FC236}">
                  <a16:creationId xmlns:a16="http://schemas.microsoft.com/office/drawing/2014/main" id="{F9633411-3606-4432-BC94-616EC11DF61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86" name="Oval 385">
                <a:extLst>
                  <a:ext uri="{FF2B5EF4-FFF2-40B4-BE49-F238E27FC236}">
                    <a16:creationId xmlns:a16="http://schemas.microsoft.com/office/drawing/2014/main" id="{C950227F-6FAE-468D-BA45-71C519994A1E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7" name="Oval 386">
                <a:extLst>
                  <a:ext uri="{FF2B5EF4-FFF2-40B4-BE49-F238E27FC236}">
                    <a16:creationId xmlns:a16="http://schemas.microsoft.com/office/drawing/2014/main" id="{209A6CED-C0D1-49BB-88C5-5828EFDA8CA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8" name="Oval 387">
                <a:extLst>
                  <a:ext uri="{FF2B5EF4-FFF2-40B4-BE49-F238E27FC236}">
                    <a16:creationId xmlns:a16="http://schemas.microsoft.com/office/drawing/2014/main" id="{D05BC35F-2911-4993-B646-8C9D0797A08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9" name="Oval 388">
                <a:extLst>
                  <a:ext uri="{FF2B5EF4-FFF2-40B4-BE49-F238E27FC236}">
                    <a16:creationId xmlns:a16="http://schemas.microsoft.com/office/drawing/2014/main" id="{60E19E60-1A88-4549-9E25-427BA038F7C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64" name="Oval 363">
              <a:extLst>
                <a:ext uri="{FF2B5EF4-FFF2-40B4-BE49-F238E27FC236}">
                  <a16:creationId xmlns:a16="http://schemas.microsoft.com/office/drawing/2014/main" id="{AD86FF21-6E4A-4FD4-8BC5-6645581FCB1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365" name="Straight Connector 364">
              <a:extLst>
                <a:ext uri="{FF2B5EF4-FFF2-40B4-BE49-F238E27FC236}">
                  <a16:creationId xmlns:a16="http://schemas.microsoft.com/office/drawing/2014/main" id="{28DF108B-A385-46FA-8C2D-A6E7D32FFCC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6" name="Straight Connector 365">
              <a:extLst>
                <a:ext uri="{FF2B5EF4-FFF2-40B4-BE49-F238E27FC236}">
                  <a16:creationId xmlns:a16="http://schemas.microsoft.com/office/drawing/2014/main" id="{00C44BD8-C792-46F4-8FAB-78AAAAC06E3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67" name="Oval 366">
              <a:extLst>
                <a:ext uri="{FF2B5EF4-FFF2-40B4-BE49-F238E27FC236}">
                  <a16:creationId xmlns:a16="http://schemas.microsoft.com/office/drawing/2014/main" id="{B92865D2-F228-4C46-8B53-1A8169CB819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68" name="Oval 367">
              <a:extLst>
                <a:ext uri="{FF2B5EF4-FFF2-40B4-BE49-F238E27FC236}">
                  <a16:creationId xmlns:a16="http://schemas.microsoft.com/office/drawing/2014/main" id="{71C274A3-7FCE-41B6-9FD8-1A3C7CA5239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69" name="Straight Connector 368">
              <a:extLst>
                <a:ext uri="{FF2B5EF4-FFF2-40B4-BE49-F238E27FC236}">
                  <a16:creationId xmlns:a16="http://schemas.microsoft.com/office/drawing/2014/main" id="{0B00B11B-6DAC-4E3F-8642-BB59DE4BB28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0" name="Straight Connector 369">
              <a:extLst>
                <a:ext uri="{FF2B5EF4-FFF2-40B4-BE49-F238E27FC236}">
                  <a16:creationId xmlns:a16="http://schemas.microsoft.com/office/drawing/2014/main" id="{DBB2A9E4-013F-4C77-AEA4-4F51C8E643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71" name="Group 370">
              <a:extLst>
                <a:ext uri="{FF2B5EF4-FFF2-40B4-BE49-F238E27FC236}">
                  <a16:creationId xmlns:a16="http://schemas.microsoft.com/office/drawing/2014/main" id="{D9891306-6B17-4C44-BC02-E236130CC8A1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382" name="Oval 381">
                <a:extLst>
                  <a:ext uri="{FF2B5EF4-FFF2-40B4-BE49-F238E27FC236}">
                    <a16:creationId xmlns:a16="http://schemas.microsoft.com/office/drawing/2014/main" id="{02F0A84E-D211-4D18-9C1E-23FE9B97539F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3" name="Oval 382">
                <a:extLst>
                  <a:ext uri="{FF2B5EF4-FFF2-40B4-BE49-F238E27FC236}">
                    <a16:creationId xmlns:a16="http://schemas.microsoft.com/office/drawing/2014/main" id="{4CF16355-F913-454F-9088-21911030DBA8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4" name="Oval 383">
                <a:extLst>
                  <a:ext uri="{FF2B5EF4-FFF2-40B4-BE49-F238E27FC236}">
                    <a16:creationId xmlns:a16="http://schemas.microsoft.com/office/drawing/2014/main" id="{FB082897-BBCD-4EF8-B384-CD5B5571DDBF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5" name="Oval 384">
                <a:extLst>
                  <a:ext uri="{FF2B5EF4-FFF2-40B4-BE49-F238E27FC236}">
                    <a16:creationId xmlns:a16="http://schemas.microsoft.com/office/drawing/2014/main" id="{E380C8AE-8865-44C6-A76C-A464D7D0B98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72" name="Oval 371">
              <a:extLst>
                <a:ext uri="{FF2B5EF4-FFF2-40B4-BE49-F238E27FC236}">
                  <a16:creationId xmlns:a16="http://schemas.microsoft.com/office/drawing/2014/main" id="{2939A615-811F-463F-AABE-66C7F1A7AAB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3" name="Oval 372">
              <a:extLst>
                <a:ext uri="{FF2B5EF4-FFF2-40B4-BE49-F238E27FC236}">
                  <a16:creationId xmlns:a16="http://schemas.microsoft.com/office/drawing/2014/main" id="{CD782BAC-2C52-4B2D-AA97-80A5BF25173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4" name="Oval 373">
              <a:extLst>
                <a:ext uri="{FF2B5EF4-FFF2-40B4-BE49-F238E27FC236}">
                  <a16:creationId xmlns:a16="http://schemas.microsoft.com/office/drawing/2014/main" id="{2F8641FC-FCD6-4327-88C9-3CD5E1249717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5" name="Oval 374">
              <a:extLst>
                <a:ext uri="{FF2B5EF4-FFF2-40B4-BE49-F238E27FC236}">
                  <a16:creationId xmlns:a16="http://schemas.microsoft.com/office/drawing/2014/main" id="{E2447890-F64E-42A1-B5ED-FDA2649B179F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6" name="Oval 375">
              <a:extLst>
                <a:ext uri="{FF2B5EF4-FFF2-40B4-BE49-F238E27FC236}">
                  <a16:creationId xmlns:a16="http://schemas.microsoft.com/office/drawing/2014/main" id="{CF33BEA8-CD91-4D8B-A02B-6E3DBF7FA6B6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7" name="Oval 376">
              <a:extLst>
                <a:ext uri="{FF2B5EF4-FFF2-40B4-BE49-F238E27FC236}">
                  <a16:creationId xmlns:a16="http://schemas.microsoft.com/office/drawing/2014/main" id="{F2C3352B-3066-476D-A35E-07F3AF0EE6BC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8" name="Oval 377">
              <a:extLst>
                <a:ext uri="{FF2B5EF4-FFF2-40B4-BE49-F238E27FC236}">
                  <a16:creationId xmlns:a16="http://schemas.microsoft.com/office/drawing/2014/main" id="{BC407F8E-735E-484A-840D-A0ED004B893E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9" name="Oval 378">
              <a:extLst>
                <a:ext uri="{FF2B5EF4-FFF2-40B4-BE49-F238E27FC236}">
                  <a16:creationId xmlns:a16="http://schemas.microsoft.com/office/drawing/2014/main" id="{95046F66-2AF9-4806-A404-66036E97AB5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80" name="Oval 379">
              <a:extLst>
                <a:ext uri="{FF2B5EF4-FFF2-40B4-BE49-F238E27FC236}">
                  <a16:creationId xmlns:a16="http://schemas.microsoft.com/office/drawing/2014/main" id="{1A1ED253-DFCE-4AF7-93D5-865F5E43BDA1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81" name="Oval 380">
              <a:extLst>
                <a:ext uri="{FF2B5EF4-FFF2-40B4-BE49-F238E27FC236}">
                  <a16:creationId xmlns:a16="http://schemas.microsoft.com/office/drawing/2014/main" id="{A3A371DB-212D-43B0-9303-D73ECBEC7F3E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90" name="Group 389">
            <a:extLst>
              <a:ext uri="{FF2B5EF4-FFF2-40B4-BE49-F238E27FC236}">
                <a16:creationId xmlns:a16="http://schemas.microsoft.com/office/drawing/2014/main" id="{7F89033C-0757-4E79-8830-5077444D43F3}"/>
              </a:ext>
            </a:extLst>
          </p:cNvPr>
          <p:cNvGrpSpPr/>
          <p:nvPr/>
        </p:nvGrpSpPr>
        <p:grpSpPr>
          <a:xfrm>
            <a:off x="4738055" y="4448555"/>
            <a:ext cx="2609224" cy="643538"/>
            <a:chOff x="330424" y="3751799"/>
            <a:chExt cx="15193725" cy="3747377"/>
          </a:xfrm>
        </p:grpSpPr>
        <p:sp>
          <p:nvSpPr>
            <p:cNvPr id="391" name="Arrow: Pentagon 390">
              <a:extLst>
                <a:ext uri="{FF2B5EF4-FFF2-40B4-BE49-F238E27FC236}">
                  <a16:creationId xmlns:a16="http://schemas.microsoft.com/office/drawing/2014/main" id="{8F88170F-54F2-4E5B-881C-B8F77FF3191E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92" name="Straight Connector 391">
              <a:extLst>
                <a:ext uri="{FF2B5EF4-FFF2-40B4-BE49-F238E27FC236}">
                  <a16:creationId xmlns:a16="http://schemas.microsoft.com/office/drawing/2014/main" id="{FC36E438-3519-4552-8DCF-EDFEBE16E86A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3" name="Straight Connector 392">
              <a:extLst>
                <a:ext uri="{FF2B5EF4-FFF2-40B4-BE49-F238E27FC236}">
                  <a16:creationId xmlns:a16="http://schemas.microsoft.com/office/drawing/2014/main" id="{F471BC97-FC5C-4430-8F3C-41758553CA18}"/>
                </a:ext>
              </a:extLst>
            </p:cNvPr>
            <p:cNvCxnSpPr>
              <a:cxnSpLocks/>
              <a:endCxn id="429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4" name="Straight Connector 393">
              <a:extLst>
                <a:ext uri="{FF2B5EF4-FFF2-40B4-BE49-F238E27FC236}">
                  <a16:creationId xmlns:a16="http://schemas.microsoft.com/office/drawing/2014/main" id="{2B1177AD-C154-4552-B3E6-BC17D69457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5" name="Straight Connector 394">
              <a:extLst>
                <a:ext uri="{FF2B5EF4-FFF2-40B4-BE49-F238E27FC236}">
                  <a16:creationId xmlns:a16="http://schemas.microsoft.com/office/drawing/2014/main" id="{C55FE334-BBA1-4712-8C63-76A265FE7DC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6" name="Straight Connector 395">
              <a:extLst>
                <a:ext uri="{FF2B5EF4-FFF2-40B4-BE49-F238E27FC236}">
                  <a16:creationId xmlns:a16="http://schemas.microsoft.com/office/drawing/2014/main" id="{6D07C684-B61F-4FD9-BDAE-3DD1042D8C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97" name="Oval 396">
              <a:extLst>
                <a:ext uri="{FF2B5EF4-FFF2-40B4-BE49-F238E27FC236}">
                  <a16:creationId xmlns:a16="http://schemas.microsoft.com/office/drawing/2014/main" id="{9EC583AB-1AF6-4F48-B0A6-27FFD24BD73E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98" name="Oval 397">
              <a:extLst>
                <a:ext uri="{FF2B5EF4-FFF2-40B4-BE49-F238E27FC236}">
                  <a16:creationId xmlns:a16="http://schemas.microsoft.com/office/drawing/2014/main" id="{20421334-11B4-4064-B220-40497A58843C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99" name="Straight Connector 398">
              <a:extLst>
                <a:ext uri="{FF2B5EF4-FFF2-40B4-BE49-F238E27FC236}">
                  <a16:creationId xmlns:a16="http://schemas.microsoft.com/office/drawing/2014/main" id="{460D404E-E578-45F1-9755-D20462D541F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0" name="Straight Connector 399">
              <a:extLst>
                <a:ext uri="{FF2B5EF4-FFF2-40B4-BE49-F238E27FC236}">
                  <a16:creationId xmlns:a16="http://schemas.microsoft.com/office/drawing/2014/main" id="{9BD39092-DE22-4410-A7C6-DBFB6417BA6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1" name="Straight Connector 400">
              <a:extLst>
                <a:ext uri="{FF2B5EF4-FFF2-40B4-BE49-F238E27FC236}">
                  <a16:creationId xmlns:a16="http://schemas.microsoft.com/office/drawing/2014/main" id="{A3D9F126-125F-4334-860C-8D1F11BF12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2" name="Straight Connector 401">
              <a:extLst>
                <a:ext uri="{FF2B5EF4-FFF2-40B4-BE49-F238E27FC236}">
                  <a16:creationId xmlns:a16="http://schemas.microsoft.com/office/drawing/2014/main" id="{DE70051F-D572-4B96-9E88-5DC1D03E95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3" name="Straight Connector 402">
              <a:extLst>
                <a:ext uri="{FF2B5EF4-FFF2-40B4-BE49-F238E27FC236}">
                  <a16:creationId xmlns:a16="http://schemas.microsoft.com/office/drawing/2014/main" id="{DC6B8206-B88B-4400-B60D-4286CCEAD9AC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4" name="Straight Connector 403">
              <a:extLst>
                <a:ext uri="{FF2B5EF4-FFF2-40B4-BE49-F238E27FC236}">
                  <a16:creationId xmlns:a16="http://schemas.microsoft.com/office/drawing/2014/main" id="{53C300E2-B7CF-4628-A51D-9C394AAF116A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5" name="Straight Connector 404">
              <a:extLst>
                <a:ext uri="{FF2B5EF4-FFF2-40B4-BE49-F238E27FC236}">
                  <a16:creationId xmlns:a16="http://schemas.microsoft.com/office/drawing/2014/main" id="{3D2E187C-52CD-4331-BCAB-8325337AAFA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06" name="Group 405">
              <a:extLst>
                <a:ext uri="{FF2B5EF4-FFF2-40B4-BE49-F238E27FC236}">
                  <a16:creationId xmlns:a16="http://schemas.microsoft.com/office/drawing/2014/main" id="{AA0265FB-894F-4725-822A-6FF9A1D90CFF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C85CF08C-A320-4AD5-87F5-D7471414764C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0" name="Oval 429">
                <a:extLst>
                  <a:ext uri="{FF2B5EF4-FFF2-40B4-BE49-F238E27FC236}">
                    <a16:creationId xmlns:a16="http://schemas.microsoft.com/office/drawing/2014/main" id="{EC3EA798-8583-41BD-B7C2-DC1C8454BE0F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1" name="Oval 430">
                <a:extLst>
                  <a:ext uri="{FF2B5EF4-FFF2-40B4-BE49-F238E27FC236}">
                    <a16:creationId xmlns:a16="http://schemas.microsoft.com/office/drawing/2014/main" id="{02BE5422-1136-4B80-A6E9-60B09868178D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2" name="Oval 431">
                <a:extLst>
                  <a:ext uri="{FF2B5EF4-FFF2-40B4-BE49-F238E27FC236}">
                    <a16:creationId xmlns:a16="http://schemas.microsoft.com/office/drawing/2014/main" id="{1CDAE893-32FA-47BF-AA0F-304CC7CA2681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07" name="Oval 406">
              <a:extLst>
                <a:ext uri="{FF2B5EF4-FFF2-40B4-BE49-F238E27FC236}">
                  <a16:creationId xmlns:a16="http://schemas.microsoft.com/office/drawing/2014/main" id="{96CF460C-5596-48E6-A77F-5D9D547C455E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08" name="Straight Connector 407">
              <a:extLst>
                <a:ext uri="{FF2B5EF4-FFF2-40B4-BE49-F238E27FC236}">
                  <a16:creationId xmlns:a16="http://schemas.microsoft.com/office/drawing/2014/main" id="{DD5B96F9-98CE-4AA3-BFC0-11D5B59D4F6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9" name="Straight Connector 408">
              <a:extLst>
                <a:ext uri="{FF2B5EF4-FFF2-40B4-BE49-F238E27FC236}">
                  <a16:creationId xmlns:a16="http://schemas.microsoft.com/office/drawing/2014/main" id="{BDBC8114-8710-4C95-AD2F-A0A9EF6401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10" name="Oval 409">
              <a:extLst>
                <a:ext uri="{FF2B5EF4-FFF2-40B4-BE49-F238E27FC236}">
                  <a16:creationId xmlns:a16="http://schemas.microsoft.com/office/drawing/2014/main" id="{C615BE8A-2EB7-4370-B4AA-F5D2CA44C811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11" name="Oval 410">
              <a:extLst>
                <a:ext uri="{FF2B5EF4-FFF2-40B4-BE49-F238E27FC236}">
                  <a16:creationId xmlns:a16="http://schemas.microsoft.com/office/drawing/2014/main" id="{75FF33E1-7E29-44E4-91EE-D1F70CD3568A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12" name="Straight Connector 411">
              <a:extLst>
                <a:ext uri="{FF2B5EF4-FFF2-40B4-BE49-F238E27FC236}">
                  <a16:creationId xmlns:a16="http://schemas.microsoft.com/office/drawing/2014/main" id="{E599BA35-660E-4885-A0C8-BF6118D1B89E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13" name="Straight Connector 412">
              <a:extLst>
                <a:ext uri="{FF2B5EF4-FFF2-40B4-BE49-F238E27FC236}">
                  <a16:creationId xmlns:a16="http://schemas.microsoft.com/office/drawing/2014/main" id="{A72CC226-24A1-42DA-A130-6E5C14185D0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14" name="Group 413">
              <a:extLst>
                <a:ext uri="{FF2B5EF4-FFF2-40B4-BE49-F238E27FC236}">
                  <a16:creationId xmlns:a16="http://schemas.microsoft.com/office/drawing/2014/main" id="{B102C949-0336-44B4-AB26-6B912C52412A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425" name="Oval 424">
                <a:extLst>
                  <a:ext uri="{FF2B5EF4-FFF2-40B4-BE49-F238E27FC236}">
                    <a16:creationId xmlns:a16="http://schemas.microsoft.com/office/drawing/2014/main" id="{BE5BF5B4-AEFD-4283-BDEB-EDCABCCBD1C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6" name="Oval 425">
                <a:extLst>
                  <a:ext uri="{FF2B5EF4-FFF2-40B4-BE49-F238E27FC236}">
                    <a16:creationId xmlns:a16="http://schemas.microsoft.com/office/drawing/2014/main" id="{D2C95F16-6641-4D7A-8A2A-3C28E47CBE99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60517B95-63E1-4300-B9B2-AEDA59C4B2E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8" name="Oval 427">
                <a:extLst>
                  <a:ext uri="{FF2B5EF4-FFF2-40B4-BE49-F238E27FC236}">
                    <a16:creationId xmlns:a16="http://schemas.microsoft.com/office/drawing/2014/main" id="{30500782-E032-4B3F-AA15-DDF40EFFA73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15" name="Oval 414">
              <a:extLst>
                <a:ext uri="{FF2B5EF4-FFF2-40B4-BE49-F238E27FC236}">
                  <a16:creationId xmlns:a16="http://schemas.microsoft.com/office/drawing/2014/main" id="{3CF1F170-5DAB-4492-A7BE-4E5E95115E89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6" name="Oval 415">
              <a:extLst>
                <a:ext uri="{FF2B5EF4-FFF2-40B4-BE49-F238E27FC236}">
                  <a16:creationId xmlns:a16="http://schemas.microsoft.com/office/drawing/2014/main" id="{2BB053DF-7459-4BF5-9C01-B640A13DCE4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7" name="Oval 416">
              <a:extLst>
                <a:ext uri="{FF2B5EF4-FFF2-40B4-BE49-F238E27FC236}">
                  <a16:creationId xmlns:a16="http://schemas.microsoft.com/office/drawing/2014/main" id="{4445D576-4DCD-4034-88D9-C4C75F02C595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8" name="Oval 417">
              <a:extLst>
                <a:ext uri="{FF2B5EF4-FFF2-40B4-BE49-F238E27FC236}">
                  <a16:creationId xmlns:a16="http://schemas.microsoft.com/office/drawing/2014/main" id="{194C8F98-C514-4EBC-AC3E-208D5869FB5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9" name="Oval 418">
              <a:extLst>
                <a:ext uri="{FF2B5EF4-FFF2-40B4-BE49-F238E27FC236}">
                  <a16:creationId xmlns:a16="http://schemas.microsoft.com/office/drawing/2014/main" id="{F796838F-6E80-4A1D-A27B-62CF2DFBE70E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0" name="Oval 419">
              <a:extLst>
                <a:ext uri="{FF2B5EF4-FFF2-40B4-BE49-F238E27FC236}">
                  <a16:creationId xmlns:a16="http://schemas.microsoft.com/office/drawing/2014/main" id="{27A5B04C-14CF-403D-8D89-24AF7DB112AE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1" name="Oval 420">
              <a:extLst>
                <a:ext uri="{FF2B5EF4-FFF2-40B4-BE49-F238E27FC236}">
                  <a16:creationId xmlns:a16="http://schemas.microsoft.com/office/drawing/2014/main" id="{96DD62E9-8D1D-4493-A010-523F60C8C32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2" name="Oval 421">
              <a:extLst>
                <a:ext uri="{FF2B5EF4-FFF2-40B4-BE49-F238E27FC236}">
                  <a16:creationId xmlns:a16="http://schemas.microsoft.com/office/drawing/2014/main" id="{098BD61F-66DE-4FAF-872A-4691D1F44681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3" name="Oval 422">
              <a:extLst>
                <a:ext uri="{FF2B5EF4-FFF2-40B4-BE49-F238E27FC236}">
                  <a16:creationId xmlns:a16="http://schemas.microsoft.com/office/drawing/2014/main" id="{D7DA3CB6-7054-4C91-B725-81631CA791F6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4" name="Oval 423">
              <a:extLst>
                <a:ext uri="{FF2B5EF4-FFF2-40B4-BE49-F238E27FC236}">
                  <a16:creationId xmlns:a16="http://schemas.microsoft.com/office/drawing/2014/main" id="{378FE48F-C571-4F61-8426-CD964F09DD63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33" name="Group 432">
            <a:extLst>
              <a:ext uri="{FF2B5EF4-FFF2-40B4-BE49-F238E27FC236}">
                <a16:creationId xmlns:a16="http://schemas.microsoft.com/office/drawing/2014/main" id="{ECD0524B-0DE4-445B-8399-8C082500F81A}"/>
              </a:ext>
            </a:extLst>
          </p:cNvPr>
          <p:cNvGrpSpPr/>
          <p:nvPr/>
        </p:nvGrpSpPr>
        <p:grpSpPr>
          <a:xfrm>
            <a:off x="4373080" y="3326987"/>
            <a:ext cx="2609224" cy="643538"/>
            <a:chOff x="330424" y="3751799"/>
            <a:chExt cx="15193725" cy="3747377"/>
          </a:xfrm>
        </p:grpSpPr>
        <p:sp>
          <p:nvSpPr>
            <p:cNvPr id="434" name="Arrow: Pentagon 433">
              <a:extLst>
                <a:ext uri="{FF2B5EF4-FFF2-40B4-BE49-F238E27FC236}">
                  <a16:creationId xmlns:a16="http://schemas.microsoft.com/office/drawing/2014/main" id="{470B9D0B-EEDD-42C7-9503-16823B8E19A7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35" name="Straight Connector 434">
              <a:extLst>
                <a:ext uri="{FF2B5EF4-FFF2-40B4-BE49-F238E27FC236}">
                  <a16:creationId xmlns:a16="http://schemas.microsoft.com/office/drawing/2014/main" id="{83999232-0D80-48F7-9FD3-2C5BC852BCA0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6" name="Straight Connector 435">
              <a:extLst>
                <a:ext uri="{FF2B5EF4-FFF2-40B4-BE49-F238E27FC236}">
                  <a16:creationId xmlns:a16="http://schemas.microsoft.com/office/drawing/2014/main" id="{00860C8B-CE76-4F75-90F9-1B843A61FB2E}"/>
                </a:ext>
              </a:extLst>
            </p:cNvPr>
            <p:cNvCxnSpPr>
              <a:cxnSpLocks/>
              <a:endCxn id="47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7" name="Straight Connector 436">
              <a:extLst>
                <a:ext uri="{FF2B5EF4-FFF2-40B4-BE49-F238E27FC236}">
                  <a16:creationId xmlns:a16="http://schemas.microsoft.com/office/drawing/2014/main" id="{4BAE9F90-35D0-485A-9B52-1717641D82E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8" name="Straight Connector 437">
              <a:extLst>
                <a:ext uri="{FF2B5EF4-FFF2-40B4-BE49-F238E27FC236}">
                  <a16:creationId xmlns:a16="http://schemas.microsoft.com/office/drawing/2014/main" id="{10155EF9-40ED-4C45-ADC7-4F9C7746AD53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9" name="Straight Connector 438">
              <a:extLst>
                <a:ext uri="{FF2B5EF4-FFF2-40B4-BE49-F238E27FC236}">
                  <a16:creationId xmlns:a16="http://schemas.microsoft.com/office/drawing/2014/main" id="{90ABEE7C-E850-43B7-BC3A-0C88AC5702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40" name="Oval 439">
              <a:extLst>
                <a:ext uri="{FF2B5EF4-FFF2-40B4-BE49-F238E27FC236}">
                  <a16:creationId xmlns:a16="http://schemas.microsoft.com/office/drawing/2014/main" id="{CA1053CF-3827-47E5-AD70-427AAB59C9C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41" name="Oval 440">
              <a:extLst>
                <a:ext uri="{FF2B5EF4-FFF2-40B4-BE49-F238E27FC236}">
                  <a16:creationId xmlns:a16="http://schemas.microsoft.com/office/drawing/2014/main" id="{AE4043C1-AD33-47C5-8704-243322AC5C1B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42" name="Straight Connector 441">
              <a:extLst>
                <a:ext uri="{FF2B5EF4-FFF2-40B4-BE49-F238E27FC236}">
                  <a16:creationId xmlns:a16="http://schemas.microsoft.com/office/drawing/2014/main" id="{68BD5DA3-60AE-43D7-AB4F-BB9312B8D30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3" name="Straight Connector 442">
              <a:extLst>
                <a:ext uri="{FF2B5EF4-FFF2-40B4-BE49-F238E27FC236}">
                  <a16:creationId xmlns:a16="http://schemas.microsoft.com/office/drawing/2014/main" id="{417C2A81-9813-478A-84BB-66E6B46E3B7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4" name="Straight Connector 443">
              <a:extLst>
                <a:ext uri="{FF2B5EF4-FFF2-40B4-BE49-F238E27FC236}">
                  <a16:creationId xmlns:a16="http://schemas.microsoft.com/office/drawing/2014/main" id="{26262783-BC99-4880-9DB6-1AFF414CAB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5" name="Straight Connector 444">
              <a:extLst>
                <a:ext uri="{FF2B5EF4-FFF2-40B4-BE49-F238E27FC236}">
                  <a16:creationId xmlns:a16="http://schemas.microsoft.com/office/drawing/2014/main" id="{C027B4D3-2BB7-43E6-A7B1-D1504CDA87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6" name="Straight Connector 445">
              <a:extLst>
                <a:ext uri="{FF2B5EF4-FFF2-40B4-BE49-F238E27FC236}">
                  <a16:creationId xmlns:a16="http://schemas.microsoft.com/office/drawing/2014/main" id="{4029FDF0-4E4B-4887-B937-F5BCC4D5880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7" name="Straight Connector 446">
              <a:extLst>
                <a:ext uri="{FF2B5EF4-FFF2-40B4-BE49-F238E27FC236}">
                  <a16:creationId xmlns:a16="http://schemas.microsoft.com/office/drawing/2014/main" id="{3CCC8650-1D30-4031-A0E6-0FA215EDF68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8" name="Straight Connector 447">
              <a:extLst>
                <a:ext uri="{FF2B5EF4-FFF2-40B4-BE49-F238E27FC236}">
                  <a16:creationId xmlns:a16="http://schemas.microsoft.com/office/drawing/2014/main" id="{9CD5C3FA-FBE6-44F6-BB84-012551B01A3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49" name="Group 448">
              <a:extLst>
                <a:ext uri="{FF2B5EF4-FFF2-40B4-BE49-F238E27FC236}">
                  <a16:creationId xmlns:a16="http://schemas.microsoft.com/office/drawing/2014/main" id="{EF74D20F-4A2D-4409-B31C-7AF343E2D57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72" name="Oval 471">
                <a:extLst>
                  <a:ext uri="{FF2B5EF4-FFF2-40B4-BE49-F238E27FC236}">
                    <a16:creationId xmlns:a16="http://schemas.microsoft.com/office/drawing/2014/main" id="{A84DCDFB-F9A1-4520-BDE6-A1B096065336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3" name="Oval 472">
                <a:extLst>
                  <a:ext uri="{FF2B5EF4-FFF2-40B4-BE49-F238E27FC236}">
                    <a16:creationId xmlns:a16="http://schemas.microsoft.com/office/drawing/2014/main" id="{DE866A00-0178-44A7-B935-0C7769889692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4" name="Oval 473">
                <a:extLst>
                  <a:ext uri="{FF2B5EF4-FFF2-40B4-BE49-F238E27FC236}">
                    <a16:creationId xmlns:a16="http://schemas.microsoft.com/office/drawing/2014/main" id="{BEB5AB94-9823-4B35-85A7-E7FA183BEC81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5" name="Oval 474">
                <a:extLst>
                  <a:ext uri="{FF2B5EF4-FFF2-40B4-BE49-F238E27FC236}">
                    <a16:creationId xmlns:a16="http://schemas.microsoft.com/office/drawing/2014/main" id="{D466E187-C781-4BA4-A014-861C3C33B2E4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50" name="Oval 449">
              <a:extLst>
                <a:ext uri="{FF2B5EF4-FFF2-40B4-BE49-F238E27FC236}">
                  <a16:creationId xmlns:a16="http://schemas.microsoft.com/office/drawing/2014/main" id="{E3A86833-1CAD-4031-83E8-96739B0AF44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51" name="Straight Connector 450">
              <a:extLst>
                <a:ext uri="{FF2B5EF4-FFF2-40B4-BE49-F238E27FC236}">
                  <a16:creationId xmlns:a16="http://schemas.microsoft.com/office/drawing/2014/main" id="{4D77A3B6-3BC8-465C-9F8E-7D0AFD13D73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52" name="Straight Connector 451">
              <a:extLst>
                <a:ext uri="{FF2B5EF4-FFF2-40B4-BE49-F238E27FC236}">
                  <a16:creationId xmlns:a16="http://schemas.microsoft.com/office/drawing/2014/main" id="{B87121D3-3E7B-4A6F-8702-20027293B34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53" name="Oval 452">
              <a:extLst>
                <a:ext uri="{FF2B5EF4-FFF2-40B4-BE49-F238E27FC236}">
                  <a16:creationId xmlns:a16="http://schemas.microsoft.com/office/drawing/2014/main" id="{DB5E0383-336C-4779-BF3E-17CBE6A7C7E3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54" name="Oval 453">
              <a:extLst>
                <a:ext uri="{FF2B5EF4-FFF2-40B4-BE49-F238E27FC236}">
                  <a16:creationId xmlns:a16="http://schemas.microsoft.com/office/drawing/2014/main" id="{0C7E10B4-34AE-49E2-A13A-D4475CD6AAC6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55" name="Straight Connector 454">
              <a:extLst>
                <a:ext uri="{FF2B5EF4-FFF2-40B4-BE49-F238E27FC236}">
                  <a16:creationId xmlns:a16="http://schemas.microsoft.com/office/drawing/2014/main" id="{C3E7E5B4-CF0D-480C-A7CA-1ED1A5F80E14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56" name="Straight Connector 455">
              <a:extLst>
                <a:ext uri="{FF2B5EF4-FFF2-40B4-BE49-F238E27FC236}">
                  <a16:creationId xmlns:a16="http://schemas.microsoft.com/office/drawing/2014/main" id="{E1F8E363-AF78-4B38-A949-14666EC6A0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3450D6CA-F85C-4F2B-8C99-C76A88BBF032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468" name="Oval 467">
                <a:extLst>
                  <a:ext uri="{FF2B5EF4-FFF2-40B4-BE49-F238E27FC236}">
                    <a16:creationId xmlns:a16="http://schemas.microsoft.com/office/drawing/2014/main" id="{E3E64A22-D91B-4355-92DD-3C483AD06175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9" name="Oval 468">
                <a:extLst>
                  <a:ext uri="{FF2B5EF4-FFF2-40B4-BE49-F238E27FC236}">
                    <a16:creationId xmlns:a16="http://schemas.microsoft.com/office/drawing/2014/main" id="{953E94C4-600E-4754-A20A-DCF08FAB7839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0" name="Oval 469">
                <a:extLst>
                  <a:ext uri="{FF2B5EF4-FFF2-40B4-BE49-F238E27FC236}">
                    <a16:creationId xmlns:a16="http://schemas.microsoft.com/office/drawing/2014/main" id="{80C48699-1FB9-4B56-BC52-EDEACA472D1B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1" name="Oval 470">
                <a:extLst>
                  <a:ext uri="{FF2B5EF4-FFF2-40B4-BE49-F238E27FC236}">
                    <a16:creationId xmlns:a16="http://schemas.microsoft.com/office/drawing/2014/main" id="{04EA4937-E1F1-481A-B679-0792019429B2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58" name="Oval 457">
              <a:extLst>
                <a:ext uri="{FF2B5EF4-FFF2-40B4-BE49-F238E27FC236}">
                  <a16:creationId xmlns:a16="http://schemas.microsoft.com/office/drawing/2014/main" id="{BD018C23-1894-44A3-BB24-1B7BA2014C91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59" name="Oval 458">
              <a:extLst>
                <a:ext uri="{FF2B5EF4-FFF2-40B4-BE49-F238E27FC236}">
                  <a16:creationId xmlns:a16="http://schemas.microsoft.com/office/drawing/2014/main" id="{D8A892E9-1FBF-4FD5-9877-915252460F0C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0" name="Oval 459">
              <a:extLst>
                <a:ext uri="{FF2B5EF4-FFF2-40B4-BE49-F238E27FC236}">
                  <a16:creationId xmlns:a16="http://schemas.microsoft.com/office/drawing/2014/main" id="{048D812B-7E9B-4345-B12A-0AFF1200736A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1" name="Oval 460">
              <a:extLst>
                <a:ext uri="{FF2B5EF4-FFF2-40B4-BE49-F238E27FC236}">
                  <a16:creationId xmlns:a16="http://schemas.microsoft.com/office/drawing/2014/main" id="{401525FD-AD4B-4437-AE61-C84FE605CB6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2" name="Oval 461">
              <a:extLst>
                <a:ext uri="{FF2B5EF4-FFF2-40B4-BE49-F238E27FC236}">
                  <a16:creationId xmlns:a16="http://schemas.microsoft.com/office/drawing/2014/main" id="{2D3B5978-B1C4-4E5F-9E85-423CCEED6CC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3" name="Oval 462">
              <a:extLst>
                <a:ext uri="{FF2B5EF4-FFF2-40B4-BE49-F238E27FC236}">
                  <a16:creationId xmlns:a16="http://schemas.microsoft.com/office/drawing/2014/main" id="{69940C4F-0F72-4349-8BA7-0201AEB4DBF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4" name="Oval 463">
              <a:extLst>
                <a:ext uri="{FF2B5EF4-FFF2-40B4-BE49-F238E27FC236}">
                  <a16:creationId xmlns:a16="http://schemas.microsoft.com/office/drawing/2014/main" id="{5899D571-F793-4DA5-B254-84FD72C91A0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5" name="Oval 464">
              <a:extLst>
                <a:ext uri="{FF2B5EF4-FFF2-40B4-BE49-F238E27FC236}">
                  <a16:creationId xmlns:a16="http://schemas.microsoft.com/office/drawing/2014/main" id="{70D1D591-2951-4C7C-95CF-554EAEF8FA28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6" name="Oval 465">
              <a:extLst>
                <a:ext uri="{FF2B5EF4-FFF2-40B4-BE49-F238E27FC236}">
                  <a16:creationId xmlns:a16="http://schemas.microsoft.com/office/drawing/2014/main" id="{D69405CC-6FEB-4AD2-B7B1-D64E1B90628C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7" name="Oval 466">
              <a:extLst>
                <a:ext uri="{FF2B5EF4-FFF2-40B4-BE49-F238E27FC236}">
                  <a16:creationId xmlns:a16="http://schemas.microsoft.com/office/drawing/2014/main" id="{F9CF12A1-878F-4EFF-AA5F-3815F454A689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76" name="Group 475">
            <a:extLst>
              <a:ext uri="{FF2B5EF4-FFF2-40B4-BE49-F238E27FC236}">
                <a16:creationId xmlns:a16="http://schemas.microsoft.com/office/drawing/2014/main" id="{FBF1B06C-D937-4B2C-B593-9529F5B6C5F2}"/>
              </a:ext>
            </a:extLst>
          </p:cNvPr>
          <p:cNvGrpSpPr/>
          <p:nvPr/>
        </p:nvGrpSpPr>
        <p:grpSpPr>
          <a:xfrm>
            <a:off x="7526558" y="2802969"/>
            <a:ext cx="2609224" cy="643538"/>
            <a:chOff x="330424" y="3751799"/>
            <a:chExt cx="15193725" cy="3747377"/>
          </a:xfrm>
        </p:grpSpPr>
        <p:sp>
          <p:nvSpPr>
            <p:cNvPr id="477" name="Arrow: Pentagon 476">
              <a:extLst>
                <a:ext uri="{FF2B5EF4-FFF2-40B4-BE49-F238E27FC236}">
                  <a16:creationId xmlns:a16="http://schemas.microsoft.com/office/drawing/2014/main" id="{17D0238B-AD15-4250-8D3C-B72B5CF6637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78" name="Straight Connector 477">
              <a:extLst>
                <a:ext uri="{FF2B5EF4-FFF2-40B4-BE49-F238E27FC236}">
                  <a16:creationId xmlns:a16="http://schemas.microsoft.com/office/drawing/2014/main" id="{F91DEE3C-CE79-4F9D-B99C-7362F457CBC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79" name="Straight Connector 478">
              <a:extLst>
                <a:ext uri="{FF2B5EF4-FFF2-40B4-BE49-F238E27FC236}">
                  <a16:creationId xmlns:a16="http://schemas.microsoft.com/office/drawing/2014/main" id="{160C01EC-46D8-4D6C-B457-09940DE7A318}"/>
                </a:ext>
              </a:extLst>
            </p:cNvPr>
            <p:cNvCxnSpPr>
              <a:cxnSpLocks/>
              <a:endCxn id="515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0" name="Straight Connector 479">
              <a:extLst>
                <a:ext uri="{FF2B5EF4-FFF2-40B4-BE49-F238E27FC236}">
                  <a16:creationId xmlns:a16="http://schemas.microsoft.com/office/drawing/2014/main" id="{7376C03A-EE92-4091-80B4-4E8253F683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1" name="Straight Connector 480">
              <a:extLst>
                <a:ext uri="{FF2B5EF4-FFF2-40B4-BE49-F238E27FC236}">
                  <a16:creationId xmlns:a16="http://schemas.microsoft.com/office/drawing/2014/main" id="{4626F678-0D9D-493E-B8DC-F2025BD803BA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2" name="Straight Connector 481">
              <a:extLst>
                <a:ext uri="{FF2B5EF4-FFF2-40B4-BE49-F238E27FC236}">
                  <a16:creationId xmlns:a16="http://schemas.microsoft.com/office/drawing/2014/main" id="{72641784-CE60-4C12-AA84-CCDB1C9211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83" name="Oval 482">
              <a:extLst>
                <a:ext uri="{FF2B5EF4-FFF2-40B4-BE49-F238E27FC236}">
                  <a16:creationId xmlns:a16="http://schemas.microsoft.com/office/drawing/2014/main" id="{12F8BC9C-2D75-41B9-BF18-2E41516DCFE1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84" name="Oval 483">
              <a:extLst>
                <a:ext uri="{FF2B5EF4-FFF2-40B4-BE49-F238E27FC236}">
                  <a16:creationId xmlns:a16="http://schemas.microsoft.com/office/drawing/2014/main" id="{7EF52D04-5899-4126-B761-8DFFEFB4909B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85" name="Straight Connector 484">
              <a:extLst>
                <a:ext uri="{FF2B5EF4-FFF2-40B4-BE49-F238E27FC236}">
                  <a16:creationId xmlns:a16="http://schemas.microsoft.com/office/drawing/2014/main" id="{47378249-2808-471D-BCE1-C4DBED095ED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6" name="Straight Connector 485">
              <a:extLst>
                <a:ext uri="{FF2B5EF4-FFF2-40B4-BE49-F238E27FC236}">
                  <a16:creationId xmlns:a16="http://schemas.microsoft.com/office/drawing/2014/main" id="{0F44670B-5E37-48E8-A5C7-DF48C6B380C1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7" name="Straight Connector 486">
              <a:extLst>
                <a:ext uri="{FF2B5EF4-FFF2-40B4-BE49-F238E27FC236}">
                  <a16:creationId xmlns:a16="http://schemas.microsoft.com/office/drawing/2014/main" id="{C980CBEF-1DB8-4EC1-9C86-21A4ADDDAB0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8" name="Straight Connector 487">
              <a:extLst>
                <a:ext uri="{FF2B5EF4-FFF2-40B4-BE49-F238E27FC236}">
                  <a16:creationId xmlns:a16="http://schemas.microsoft.com/office/drawing/2014/main" id="{04E696A6-636B-499C-A774-A1D51EC079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9" name="Straight Connector 488">
              <a:extLst>
                <a:ext uri="{FF2B5EF4-FFF2-40B4-BE49-F238E27FC236}">
                  <a16:creationId xmlns:a16="http://schemas.microsoft.com/office/drawing/2014/main" id="{2CADFDF3-563C-4E24-A415-10037AA0B09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0" name="Straight Connector 489">
              <a:extLst>
                <a:ext uri="{FF2B5EF4-FFF2-40B4-BE49-F238E27FC236}">
                  <a16:creationId xmlns:a16="http://schemas.microsoft.com/office/drawing/2014/main" id="{CA8E437B-B0A7-4E3D-BE25-2723ACFEEA1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1" name="Straight Connector 490">
              <a:extLst>
                <a:ext uri="{FF2B5EF4-FFF2-40B4-BE49-F238E27FC236}">
                  <a16:creationId xmlns:a16="http://schemas.microsoft.com/office/drawing/2014/main" id="{9B9543E7-7747-40E2-BAFE-5545F92BC12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92" name="Group 491">
              <a:extLst>
                <a:ext uri="{FF2B5EF4-FFF2-40B4-BE49-F238E27FC236}">
                  <a16:creationId xmlns:a16="http://schemas.microsoft.com/office/drawing/2014/main" id="{CE5D35EA-D4B6-4FD8-9A89-710085D8622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515" name="Oval 514">
                <a:extLst>
                  <a:ext uri="{FF2B5EF4-FFF2-40B4-BE49-F238E27FC236}">
                    <a16:creationId xmlns:a16="http://schemas.microsoft.com/office/drawing/2014/main" id="{79BDC24A-38F5-40F6-8148-58602DA03361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6" name="Oval 515">
                <a:extLst>
                  <a:ext uri="{FF2B5EF4-FFF2-40B4-BE49-F238E27FC236}">
                    <a16:creationId xmlns:a16="http://schemas.microsoft.com/office/drawing/2014/main" id="{4A9535A1-4F99-41CA-8E35-A4BB7C7228DD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7" name="Oval 516">
                <a:extLst>
                  <a:ext uri="{FF2B5EF4-FFF2-40B4-BE49-F238E27FC236}">
                    <a16:creationId xmlns:a16="http://schemas.microsoft.com/office/drawing/2014/main" id="{F8F9BF16-62FD-4568-AC68-24824099C6A0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8" name="Oval 517">
                <a:extLst>
                  <a:ext uri="{FF2B5EF4-FFF2-40B4-BE49-F238E27FC236}">
                    <a16:creationId xmlns:a16="http://schemas.microsoft.com/office/drawing/2014/main" id="{C45BC8BF-F1A0-41A4-BE18-FB7BBF471688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93" name="Oval 492">
              <a:extLst>
                <a:ext uri="{FF2B5EF4-FFF2-40B4-BE49-F238E27FC236}">
                  <a16:creationId xmlns:a16="http://schemas.microsoft.com/office/drawing/2014/main" id="{AA1C1C14-A6D4-42E0-BF97-5791F1410F4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94" name="Straight Connector 493">
              <a:extLst>
                <a:ext uri="{FF2B5EF4-FFF2-40B4-BE49-F238E27FC236}">
                  <a16:creationId xmlns:a16="http://schemas.microsoft.com/office/drawing/2014/main" id="{6166F5D2-5094-4220-A2F9-A61BE2938D8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5" name="Straight Connector 494">
              <a:extLst>
                <a:ext uri="{FF2B5EF4-FFF2-40B4-BE49-F238E27FC236}">
                  <a16:creationId xmlns:a16="http://schemas.microsoft.com/office/drawing/2014/main" id="{78E16DB7-DA78-4700-99CE-6D9ED02A628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96" name="Oval 495">
              <a:extLst>
                <a:ext uri="{FF2B5EF4-FFF2-40B4-BE49-F238E27FC236}">
                  <a16:creationId xmlns:a16="http://schemas.microsoft.com/office/drawing/2014/main" id="{7B3A708C-8033-4786-B8A4-89D3C2B9F5E5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97" name="Oval 496">
              <a:extLst>
                <a:ext uri="{FF2B5EF4-FFF2-40B4-BE49-F238E27FC236}">
                  <a16:creationId xmlns:a16="http://schemas.microsoft.com/office/drawing/2014/main" id="{72591957-6EDC-42D8-A5EA-A18E62F1E06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98" name="Straight Connector 497">
              <a:extLst>
                <a:ext uri="{FF2B5EF4-FFF2-40B4-BE49-F238E27FC236}">
                  <a16:creationId xmlns:a16="http://schemas.microsoft.com/office/drawing/2014/main" id="{FE87E0D4-084E-4C10-B37A-49AD9010D6B9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9" name="Straight Connector 498">
              <a:extLst>
                <a:ext uri="{FF2B5EF4-FFF2-40B4-BE49-F238E27FC236}">
                  <a16:creationId xmlns:a16="http://schemas.microsoft.com/office/drawing/2014/main" id="{891FD1C0-82FF-43EF-A1A3-022AC605A2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00" name="Group 499">
              <a:extLst>
                <a:ext uri="{FF2B5EF4-FFF2-40B4-BE49-F238E27FC236}">
                  <a16:creationId xmlns:a16="http://schemas.microsoft.com/office/drawing/2014/main" id="{E673D08B-5012-4BC3-A2A7-A501619AB561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511" name="Oval 510">
                <a:extLst>
                  <a:ext uri="{FF2B5EF4-FFF2-40B4-BE49-F238E27FC236}">
                    <a16:creationId xmlns:a16="http://schemas.microsoft.com/office/drawing/2014/main" id="{94A1863B-491F-4BE7-9670-F20740F22072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2" name="Oval 511">
                <a:extLst>
                  <a:ext uri="{FF2B5EF4-FFF2-40B4-BE49-F238E27FC236}">
                    <a16:creationId xmlns:a16="http://schemas.microsoft.com/office/drawing/2014/main" id="{92487B39-719A-4EB7-BA43-6F941E4BB8AF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3" name="Oval 512">
                <a:extLst>
                  <a:ext uri="{FF2B5EF4-FFF2-40B4-BE49-F238E27FC236}">
                    <a16:creationId xmlns:a16="http://schemas.microsoft.com/office/drawing/2014/main" id="{70595B5C-6B13-45FE-9512-18C6A7414C23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4" name="Oval 513">
                <a:extLst>
                  <a:ext uri="{FF2B5EF4-FFF2-40B4-BE49-F238E27FC236}">
                    <a16:creationId xmlns:a16="http://schemas.microsoft.com/office/drawing/2014/main" id="{ED65D217-372E-4E05-924F-29AE119C68E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01" name="Oval 500">
              <a:extLst>
                <a:ext uri="{FF2B5EF4-FFF2-40B4-BE49-F238E27FC236}">
                  <a16:creationId xmlns:a16="http://schemas.microsoft.com/office/drawing/2014/main" id="{74C29BDA-6708-4233-9631-60EE69F03ED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2" name="Oval 501">
              <a:extLst>
                <a:ext uri="{FF2B5EF4-FFF2-40B4-BE49-F238E27FC236}">
                  <a16:creationId xmlns:a16="http://schemas.microsoft.com/office/drawing/2014/main" id="{E6D01FD7-C5CD-4B43-9B82-3D37C7F2B0C6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3" name="Oval 502">
              <a:extLst>
                <a:ext uri="{FF2B5EF4-FFF2-40B4-BE49-F238E27FC236}">
                  <a16:creationId xmlns:a16="http://schemas.microsoft.com/office/drawing/2014/main" id="{39891905-0FEA-4758-939D-9667C10B2932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4" name="Oval 503">
              <a:extLst>
                <a:ext uri="{FF2B5EF4-FFF2-40B4-BE49-F238E27FC236}">
                  <a16:creationId xmlns:a16="http://schemas.microsoft.com/office/drawing/2014/main" id="{41DB6572-9695-47EA-9E76-32FA832122C7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5" name="Oval 504">
              <a:extLst>
                <a:ext uri="{FF2B5EF4-FFF2-40B4-BE49-F238E27FC236}">
                  <a16:creationId xmlns:a16="http://schemas.microsoft.com/office/drawing/2014/main" id="{2DAD10BE-9C96-481E-B6CE-B7C632DA4A24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6" name="Oval 505">
              <a:extLst>
                <a:ext uri="{FF2B5EF4-FFF2-40B4-BE49-F238E27FC236}">
                  <a16:creationId xmlns:a16="http://schemas.microsoft.com/office/drawing/2014/main" id="{578F2078-D6F8-4DDD-BFD8-4B3919D57243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7" name="Oval 506">
              <a:extLst>
                <a:ext uri="{FF2B5EF4-FFF2-40B4-BE49-F238E27FC236}">
                  <a16:creationId xmlns:a16="http://schemas.microsoft.com/office/drawing/2014/main" id="{AB696CCA-F1DA-4228-9F7F-0D86E31DC48D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8" name="Oval 507">
              <a:extLst>
                <a:ext uri="{FF2B5EF4-FFF2-40B4-BE49-F238E27FC236}">
                  <a16:creationId xmlns:a16="http://schemas.microsoft.com/office/drawing/2014/main" id="{40690A6B-E1F1-4BA6-A095-1D9F603071B1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9" name="Oval 508">
              <a:extLst>
                <a:ext uri="{FF2B5EF4-FFF2-40B4-BE49-F238E27FC236}">
                  <a16:creationId xmlns:a16="http://schemas.microsoft.com/office/drawing/2014/main" id="{6F52D7A5-BBB3-4E3A-AB23-ECCFEFF220D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10" name="Oval 509">
              <a:extLst>
                <a:ext uri="{FF2B5EF4-FFF2-40B4-BE49-F238E27FC236}">
                  <a16:creationId xmlns:a16="http://schemas.microsoft.com/office/drawing/2014/main" id="{259E2901-DB12-4829-A849-D3A85CE272D9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3" name="Group 522">
            <a:extLst>
              <a:ext uri="{FF2B5EF4-FFF2-40B4-BE49-F238E27FC236}">
                <a16:creationId xmlns:a16="http://schemas.microsoft.com/office/drawing/2014/main" id="{ECFEA3D4-55DA-41E3-82E4-0E1B429C966B}"/>
              </a:ext>
            </a:extLst>
          </p:cNvPr>
          <p:cNvGrpSpPr/>
          <p:nvPr/>
        </p:nvGrpSpPr>
        <p:grpSpPr>
          <a:xfrm>
            <a:off x="3621379" y="5418430"/>
            <a:ext cx="2609224" cy="643538"/>
            <a:chOff x="330424" y="3751799"/>
            <a:chExt cx="15193725" cy="3747377"/>
          </a:xfrm>
        </p:grpSpPr>
        <p:sp>
          <p:nvSpPr>
            <p:cNvPr id="868" name="Arrow: Pentagon 867">
              <a:extLst>
                <a:ext uri="{FF2B5EF4-FFF2-40B4-BE49-F238E27FC236}">
                  <a16:creationId xmlns:a16="http://schemas.microsoft.com/office/drawing/2014/main" id="{78C0B67B-8140-427D-BC5F-F505F49536F0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869" name="Straight Connector 868">
              <a:extLst>
                <a:ext uri="{FF2B5EF4-FFF2-40B4-BE49-F238E27FC236}">
                  <a16:creationId xmlns:a16="http://schemas.microsoft.com/office/drawing/2014/main" id="{EB5901B3-C933-4EEE-A157-E766B3EC285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0" name="Straight Connector 869">
              <a:extLst>
                <a:ext uri="{FF2B5EF4-FFF2-40B4-BE49-F238E27FC236}">
                  <a16:creationId xmlns:a16="http://schemas.microsoft.com/office/drawing/2014/main" id="{6D661CE2-2884-48EE-9F1A-D951AAF1EA6A}"/>
                </a:ext>
              </a:extLst>
            </p:cNvPr>
            <p:cNvCxnSpPr>
              <a:cxnSpLocks/>
              <a:endCxn id="90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1" name="Straight Connector 870">
              <a:extLst>
                <a:ext uri="{FF2B5EF4-FFF2-40B4-BE49-F238E27FC236}">
                  <a16:creationId xmlns:a16="http://schemas.microsoft.com/office/drawing/2014/main" id="{F375B046-1065-46E1-A55C-90A445F3C2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2" name="Straight Connector 871">
              <a:extLst>
                <a:ext uri="{FF2B5EF4-FFF2-40B4-BE49-F238E27FC236}">
                  <a16:creationId xmlns:a16="http://schemas.microsoft.com/office/drawing/2014/main" id="{F7FE3D1B-703D-44C3-8336-50E2AB309010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3" name="Straight Connector 872">
              <a:extLst>
                <a:ext uri="{FF2B5EF4-FFF2-40B4-BE49-F238E27FC236}">
                  <a16:creationId xmlns:a16="http://schemas.microsoft.com/office/drawing/2014/main" id="{0931A829-4C8B-4E24-80B0-42763C21F8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74" name="Oval 873">
              <a:extLst>
                <a:ext uri="{FF2B5EF4-FFF2-40B4-BE49-F238E27FC236}">
                  <a16:creationId xmlns:a16="http://schemas.microsoft.com/office/drawing/2014/main" id="{9C23A9AC-2224-4AC1-AACF-7303DF49B94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75" name="Oval 874">
              <a:extLst>
                <a:ext uri="{FF2B5EF4-FFF2-40B4-BE49-F238E27FC236}">
                  <a16:creationId xmlns:a16="http://schemas.microsoft.com/office/drawing/2014/main" id="{A8DD1ADB-FBA6-4292-8C4F-33E211234817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76" name="Straight Connector 875">
              <a:extLst>
                <a:ext uri="{FF2B5EF4-FFF2-40B4-BE49-F238E27FC236}">
                  <a16:creationId xmlns:a16="http://schemas.microsoft.com/office/drawing/2014/main" id="{15DBFE75-6780-45AB-BE91-286A5DDC770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7" name="Straight Connector 876">
              <a:extLst>
                <a:ext uri="{FF2B5EF4-FFF2-40B4-BE49-F238E27FC236}">
                  <a16:creationId xmlns:a16="http://schemas.microsoft.com/office/drawing/2014/main" id="{1ADEFBF0-2D97-41C2-AD41-E93C9F7B7F4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8" name="Straight Connector 877">
              <a:extLst>
                <a:ext uri="{FF2B5EF4-FFF2-40B4-BE49-F238E27FC236}">
                  <a16:creationId xmlns:a16="http://schemas.microsoft.com/office/drawing/2014/main" id="{085E8075-5A30-4F76-BC50-80D924BE6B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9" name="Straight Connector 878">
              <a:extLst>
                <a:ext uri="{FF2B5EF4-FFF2-40B4-BE49-F238E27FC236}">
                  <a16:creationId xmlns:a16="http://schemas.microsoft.com/office/drawing/2014/main" id="{B9C7D945-2CF4-4CDA-B8C5-F0F8A37DDF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0" name="Straight Connector 879">
              <a:extLst>
                <a:ext uri="{FF2B5EF4-FFF2-40B4-BE49-F238E27FC236}">
                  <a16:creationId xmlns:a16="http://schemas.microsoft.com/office/drawing/2014/main" id="{7FA2D360-8606-4DC7-AF46-8F070ED1EABB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1" name="Straight Connector 880">
              <a:extLst>
                <a:ext uri="{FF2B5EF4-FFF2-40B4-BE49-F238E27FC236}">
                  <a16:creationId xmlns:a16="http://schemas.microsoft.com/office/drawing/2014/main" id="{E32C78AD-1550-47CE-9B27-AC9B8776B3F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2" name="Straight Connector 881">
              <a:extLst>
                <a:ext uri="{FF2B5EF4-FFF2-40B4-BE49-F238E27FC236}">
                  <a16:creationId xmlns:a16="http://schemas.microsoft.com/office/drawing/2014/main" id="{3B30155E-8910-430D-BA67-0F58CE1226A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3" name="Group 882">
              <a:extLst>
                <a:ext uri="{FF2B5EF4-FFF2-40B4-BE49-F238E27FC236}">
                  <a16:creationId xmlns:a16="http://schemas.microsoft.com/office/drawing/2014/main" id="{5BAC4591-BCFB-4E0C-814A-E14813C859F6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906" name="Oval 905">
                <a:extLst>
                  <a:ext uri="{FF2B5EF4-FFF2-40B4-BE49-F238E27FC236}">
                    <a16:creationId xmlns:a16="http://schemas.microsoft.com/office/drawing/2014/main" id="{9CFDC351-3CE4-4D54-B36C-34E19CC6150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7" name="Oval 906">
                <a:extLst>
                  <a:ext uri="{FF2B5EF4-FFF2-40B4-BE49-F238E27FC236}">
                    <a16:creationId xmlns:a16="http://schemas.microsoft.com/office/drawing/2014/main" id="{0BD308C9-BB21-4307-B1AF-C4AB895BA27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8" name="Oval 907">
                <a:extLst>
                  <a:ext uri="{FF2B5EF4-FFF2-40B4-BE49-F238E27FC236}">
                    <a16:creationId xmlns:a16="http://schemas.microsoft.com/office/drawing/2014/main" id="{D9286101-25AA-45FF-B3C2-3FD1438FAEC7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9" name="Oval 908">
                <a:extLst>
                  <a:ext uri="{FF2B5EF4-FFF2-40B4-BE49-F238E27FC236}">
                    <a16:creationId xmlns:a16="http://schemas.microsoft.com/office/drawing/2014/main" id="{631D9B79-C5FC-4901-A98B-F2F43FDB5A7C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84" name="Oval 883">
              <a:extLst>
                <a:ext uri="{FF2B5EF4-FFF2-40B4-BE49-F238E27FC236}">
                  <a16:creationId xmlns:a16="http://schemas.microsoft.com/office/drawing/2014/main" id="{EA27341E-31DA-4AEF-A389-01ABA7153D8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885" name="Straight Connector 884">
              <a:extLst>
                <a:ext uri="{FF2B5EF4-FFF2-40B4-BE49-F238E27FC236}">
                  <a16:creationId xmlns:a16="http://schemas.microsoft.com/office/drawing/2014/main" id="{EA67B247-4327-467D-8ECD-87F9EF7AFF0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6" name="Straight Connector 885">
              <a:extLst>
                <a:ext uri="{FF2B5EF4-FFF2-40B4-BE49-F238E27FC236}">
                  <a16:creationId xmlns:a16="http://schemas.microsoft.com/office/drawing/2014/main" id="{3A87098D-A0BC-4AAF-B0F5-6E1B717A11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87" name="Oval 886">
              <a:extLst>
                <a:ext uri="{FF2B5EF4-FFF2-40B4-BE49-F238E27FC236}">
                  <a16:creationId xmlns:a16="http://schemas.microsoft.com/office/drawing/2014/main" id="{F692EAFC-FA21-4E52-8C3B-EDCEB5AC6B90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88" name="Oval 887">
              <a:extLst>
                <a:ext uri="{FF2B5EF4-FFF2-40B4-BE49-F238E27FC236}">
                  <a16:creationId xmlns:a16="http://schemas.microsoft.com/office/drawing/2014/main" id="{61A3521C-CED0-4EBB-A8C3-619CD00C5B82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89" name="Straight Connector 888">
              <a:extLst>
                <a:ext uri="{FF2B5EF4-FFF2-40B4-BE49-F238E27FC236}">
                  <a16:creationId xmlns:a16="http://schemas.microsoft.com/office/drawing/2014/main" id="{7B966AEF-062D-401A-9F12-702D91D3628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0" name="Straight Connector 889">
              <a:extLst>
                <a:ext uri="{FF2B5EF4-FFF2-40B4-BE49-F238E27FC236}">
                  <a16:creationId xmlns:a16="http://schemas.microsoft.com/office/drawing/2014/main" id="{7F5B8DED-DC2A-40D8-9D20-DE0D5E717CC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91" name="Group 890">
              <a:extLst>
                <a:ext uri="{FF2B5EF4-FFF2-40B4-BE49-F238E27FC236}">
                  <a16:creationId xmlns:a16="http://schemas.microsoft.com/office/drawing/2014/main" id="{EB8AF824-E5F7-487C-AD57-31DAF178F10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902" name="Oval 901">
                <a:extLst>
                  <a:ext uri="{FF2B5EF4-FFF2-40B4-BE49-F238E27FC236}">
                    <a16:creationId xmlns:a16="http://schemas.microsoft.com/office/drawing/2014/main" id="{86222CD9-C4F6-4720-B468-C207DA946B99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3" name="Oval 902">
                <a:extLst>
                  <a:ext uri="{FF2B5EF4-FFF2-40B4-BE49-F238E27FC236}">
                    <a16:creationId xmlns:a16="http://schemas.microsoft.com/office/drawing/2014/main" id="{A3949AC2-F704-4A7A-86B4-94A5FFF38D26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4" name="Oval 903">
                <a:extLst>
                  <a:ext uri="{FF2B5EF4-FFF2-40B4-BE49-F238E27FC236}">
                    <a16:creationId xmlns:a16="http://schemas.microsoft.com/office/drawing/2014/main" id="{47AD36DC-33CC-42E0-BC4C-31E528955316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5" name="Oval 904">
                <a:extLst>
                  <a:ext uri="{FF2B5EF4-FFF2-40B4-BE49-F238E27FC236}">
                    <a16:creationId xmlns:a16="http://schemas.microsoft.com/office/drawing/2014/main" id="{F78CB799-534A-4F14-9321-95AE1F88C20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92" name="Oval 891">
              <a:extLst>
                <a:ext uri="{FF2B5EF4-FFF2-40B4-BE49-F238E27FC236}">
                  <a16:creationId xmlns:a16="http://schemas.microsoft.com/office/drawing/2014/main" id="{634658BB-E9BF-448D-8F9F-A9E280CCE35A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3" name="Oval 892">
              <a:extLst>
                <a:ext uri="{FF2B5EF4-FFF2-40B4-BE49-F238E27FC236}">
                  <a16:creationId xmlns:a16="http://schemas.microsoft.com/office/drawing/2014/main" id="{42290177-42E9-4281-8516-83D97B7E5883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4" name="Oval 893">
              <a:extLst>
                <a:ext uri="{FF2B5EF4-FFF2-40B4-BE49-F238E27FC236}">
                  <a16:creationId xmlns:a16="http://schemas.microsoft.com/office/drawing/2014/main" id="{004EE776-E28A-4687-BE62-8BE4E8CEDE4F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5" name="Oval 894">
              <a:extLst>
                <a:ext uri="{FF2B5EF4-FFF2-40B4-BE49-F238E27FC236}">
                  <a16:creationId xmlns:a16="http://schemas.microsoft.com/office/drawing/2014/main" id="{CD7D8C29-FF07-4AE7-AA96-873E9B71690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6" name="Oval 895">
              <a:extLst>
                <a:ext uri="{FF2B5EF4-FFF2-40B4-BE49-F238E27FC236}">
                  <a16:creationId xmlns:a16="http://schemas.microsoft.com/office/drawing/2014/main" id="{7C301184-6E93-422F-986B-DCC53A1F839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7" name="Oval 896">
              <a:extLst>
                <a:ext uri="{FF2B5EF4-FFF2-40B4-BE49-F238E27FC236}">
                  <a16:creationId xmlns:a16="http://schemas.microsoft.com/office/drawing/2014/main" id="{C6B04982-1A51-46DD-AF28-5FC8B1C96655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8" name="Oval 897">
              <a:extLst>
                <a:ext uri="{FF2B5EF4-FFF2-40B4-BE49-F238E27FC236}">
                  <a16:creationId xmlns:a16="http://schemas.microsoft.com/office/drawing/2014/main" id="{43AC9585-68F3-4A59-A811-C871B9848FEB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9" name="Oval 898">
              <a:extLst>
                <a:ext uri="{FF2B5EF4-FFF2-40B4-BE49-F238E27FC236}">
                  <a16:creationId xmlns:a16="http://schemas.microsoft.com/office/drawing/2014/main" id="{E1F1F4EC-0E73-45D5-92D9-0E5ED49880B5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900" name="Oval 899">
              <a:extLst>
                <a:ext uri="{FF2B5EF4-FFF2-40B4-BE49-F238E27FC236}">
                  <a16:creationId xmlns:a16="http://schemas.microsoft.com/office/drawing/2014/main" id="{1D2B2177-198E-4A08-9708-4FA3A1745C3E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901" name="Oval 900">
              <a:extLst>
                <a:ext uri="{FF2B5EF4-FFF2-40B4-BE49-F238E27FC236}">
                  <a16:creationId xmlns:a16="http://schemas.microsoft.com/office/drawing/2014/main" id="{58AC7C8E-46BB-4ED8-960C-A44696ADB77E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5" name="Group 524">
            <a:extLst>
              <a:ext uri="{FF2B5EF4-FFF2-40B4-BE49-F238E27FC236}">
                <a16:creationId xmlns:a16="http://schemas.microsoft.com/office/drawing/2014/main" id="{F9848C83-CCEE-46B7-8C55-BDDCBEB39E2E}"/>
              </a:ext>
            </a:extLst>
          </p:cNvPr>
          <p:cNvGrpSpPr/>
          <p:nvPr/>
        </p:nvGrpSpPr>
        <p:grpSpPr>
          <a:xfrm>
            <a:off x="10821371" y="3429159"/>
            <a:ext cx="2609224" cy="643538"/>
            <a:chOff x="330424" y="3751799"/>
            <a:chExt cx="15193725" cy="3747377"/>
          </a:xfrm>
        </p:grpSpPr>
        <p:sp>
          <p:nvSpPr>
            <p:cNvPr id="784" name="Arrow: Pentagon 783">
              <a:extLst>
                <a:ext uri="{FF2B5EF4-FFF2-40B4-BE49-F238E27FC236}">
                  <a16:creationId xmlns:a16="http://schemas.microsoft.com/office/drawing/2014/main" id="{0AD51EC6-3BAC-4C7B-9EEA-27D199DEA0A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85" name="Straight Connector 784">
              <a:extLst>
                <a:ext uri="{FF2B5EF4-FFF2-40B4-BE49-F238E27FC236}">
                  <a16:creationId xmlns:a16="http://schemas.microsoft.com/office/drawing/2014/main" id="{04408750-BA37-481D-B80F-4A9D520CAA78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6" name="Straight Connector 785">
              <a:extLst>
                <a:ext uri="{FF2B5EF4-FFF2-40B4-BE49-F238E27FC236}">
                  <a16:creationId xmlns:a16="http://schemas.microsoft.com/office/drawing/2014/main" id="{9C2D634B-BC13-428E-BBDD-DC9090BF0DF7}"/>
                </a:ext>
              </a:extLst>
            </p:cNvPr>
            <p:cNvCxnSpPr>
              <a:cxnSpLocks/>
              <a:endCxn id="82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7" name="Straight Connector 786">
              <a:extLst>
                <a:ext uri="{FF2B5EF4-FFF2-40B4-BE49-F238E27FC236}">
                  <a16:creationId xmlns:a16="http://schemas.microsoft.com/office/drawing/2014/main" id="{12AC5FC1-665F-4675-9928-88FA5FE2DE8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8" name="Straight Connector 787">
              <a:extLst>
                <a:ext uri="{FF2B5EF4-FFF2-40B4-BE49-F238E27FC236}">
                  <a16:creationId xmlns:a16="http://schemas.microsoft.com/office/drawing/2014/main" id="{0C47F0F2-4D25-4923-9558-DC4C198FCBB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9" name="Straight Connector 788">
              <a:extLst>
                <a:ext uri="{FF2B5EF4-FFF2-40B4-BE49-F238E27FC236}">
                  <a16:creationId xmlns:a16="http://schemas.microsoft.com/office/drawing/2014/main" id="{9641242F-83D1-49E1-94AE-B91EF50D539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90" name="Oval 789">
              <a:extLst>
                <a:ext uri="{FF2B5EF4-FFF2-40B4-BE49-F238E27FC236}">
                  <a16:creationId xmlns:a16="http://schemas.microsoft.com/office/drawing/2014/main" id="{2376AB46-EEF1-491B-9AF5-D3263F64FB48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91" name="Oval 790">
              <a:extLst>
                <a:ext uri="{FF2B5EF4-FFF2-40B4-BE49-F238E27FC236}">
                  <a16:creationId xmlns:a16="http://schemas.microsoft.com/office/drawing/2014/main" id="{FC433084-7451-467E-B345-D16E836D53B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92" name="Straight Connector 791">
              <a:extLst>
                <a:ext uri="{FF2B5EF4-FFF2-40B4-BE49-F238E27FC236}">
                  <a16:creationId xmlns:a16="http://schemas.microsoft.com/office/drawing/2014/main" id="{26BEBC84-9796-47B7-AB67-B1E10A09809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3" name="Straight Connector 792">
              <a:extLst>
                <a:ext uri="{FF2B5EF4-FFF2-40B4-BE49-F238E27FC236}">
                  <a16:creationId xmlns:a16="http://schemas.microsoft.com/office/drawing/2014/main" id="{23A10FC7-C42E-408D-A870-247C189F7DC2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4" name="Straight Connector 793">
              <a:extLst>
                <a:ext uri="{FF2B5EF4-FFF2-40B4-BE49-F238E27FC236}">
                  <a16:creationId xmlns:a16="http://schemas.microsoft.com/office/drawing/2014/main" id="{2B583766-5EA8-4F33-BF18-3396854ED8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5" name="Straight Connector 794">
              <a:extLst>
                <a:ext uri="{FF2B5EF4-FFF2-40B4-BE49-F238E27FC236}">
                  <a16:creationId xmlns:a16="http://schemas.microsoft.com/office/drawing/2014/main" id="{DFD7B501-302D-498E-9538-1C8A8AABF48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6" name="Straight Connector 795">
              <a:extLst>
                <a:ext uri="{FF2B5EF4-FFF2-40B4-BE49-F238E27FC236}">
                  <a16:creationId xmlns:a16="http://schemas.microsoft.com/office/drawing/2014/main" id="{0C286FB7-49B4-421C-81F7-E4D988104D94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7" name="Straight Connector 796">
              <a:extLst>
                <a:ext uri="{FF2B5EF4-FFF2-40B4-BE49-F238E27FC236}">
                  <a16:creationId xmlns:a16="http://schemas.microsoft.com/office/drawing/2014/main" id="{C7C8CB63-A443-47AE-8845-FA62737C3129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8" name="Straight Connector 797">
              <a:extLst>
                <a:ext uri="{FF2B5EF4-FFF2-40B4-BE49-F238E27FC236}">
                  <a16:creationId xmlns:a16="http://schemas.microsoft.com/office/drawing/2014/main" id="{7FE51B19-511A-4284-932F-6B6E2605DC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99" name="Group 798">
              <a:extLst>
                <a:ext uri="{FF2B5EF4-FFF2-40B4-BE49-F238E27FC236}">
                  <a16:creationId xmlns:a16="http://schemas.microsoft.com/office/drawing/2014/main" id="{690C547E-799C-4B75-BA3C-66BB2AB614FD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822" name="Oval 821">
                <a:extLst>
                  <a:ext uri="{FF2B5EF4-FFF2-40B4-BE49-F238E27FC236}">
                    <a16:creationId xmlns:a16="http://schemas.microsoft.com/office/drawing/2014/main" id="{00326997-10D5-4755-B966-4D2396E9C13A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3" name="Oval 822">
                <a:extLst>
                  <a:ext uri="{FF2B5EF4-FFF2-40B4-BE49-F238E27FC236}">
                    <a16:creationId xmlns:a16="http://schemas.microsoft.com/office/drawing/2014/main" id="{A263C8B3-9994-4BB0-B9A5-F17760BA3C9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4" name="Oval 823">
                <a:extLst>
                  <a:ext uri="{FF2B5EF4-FFF2-40B4-BE49-F238E27FC236}">
                    <a16:creationId xmlns:a16="http://schemas.microsoft.com/office/drawing/2014/main" id="{82E2ABEA-0761-4B71-B716-C432B6B0133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5" name="Oval 824">
                <a:extLst>
                  <a:ext uri="{FF2B5EF4-FFF2-40B4-BE49-F238E27FC236}">
                    <a16:creationId xmlns:a16="http://schemas.microsoft.com/office/drawing/2014/main" id="{313DDE82-CFF5-42CE-AC3D-8D42A54AF67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00" name="Oval 799">
              <a:extLst>
                <a:ext uri="{FF2B5EF4-FFF2-40B4-BE49-F238E27FC236}">
                  <a16:creationId xmlns:a16="http://schemas.microsoft.com/office/drawing/2014/main" id="{C62F930B-BD37-4006-9E98-425AA7847EF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801" name="Straight Connector 800">
              <a:extLst>
                <a:ext uri="{FF2B5EF4-FFF2-40B4-BE49-F238E27FC236}">
                  <a16:creationId xmlns:a16="http://schemas.microsoft.com/office/drawing/2014/main" id="{3177147D-1A92-4D45-BC41-8BAF99CB1FA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02" name="Straight Connector 801">
              <a:extLst>
                <a:ext uri="{FF2B5EF4-FFF2-40B4-BE49-F238E27FC236}">
                  <a16:creationId xmlns:a16="http://schemas.microsoft.com/office/drawing/2014/main" id="{B56D1871-4AD4-4F7E-8F9B-7E5504E44D8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03" name="Oval 802">
              <a:extLst>
                <a:ext uri="{FF2B5EF4-FFF2-40B4-BE49-F238E27FC236}">
                  <a16:creationId xmlns:a16="http://schemas.microsoft.com/office/drawing/2014/main" id="{D277C345-8704-4F31-9008-FEEB7440DD6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04" name="Oval 803">
              <a:extLst>
                <a:ext uri="{FF2B5EF4-FFF2-40B4-BE49-F238E27FC236}">
                  <a16:creationId xmlns:a16="http://schemas.microsoft.com/office/drawing/2014/main" id="{B6BDBA1B-C0E5-4204-B1C0-F0C6F558A2C5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05" name="Straight Connector 804">
              <a:extLst>
                <a:ext uri="{FF2B5EF4-FFF2-40B4-BE49-F238E27FC236}">
                  <a16:creationId xmlns:a16="http://schemas.microsoft.com/office/drawing/2014/main" id="{7B0C6FBF-D4BA-4B1D-91BA-9AA4507281C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06" name="Straight Connector 805">
              <a:extLst>
                <a:ext uri="{FF2B5EF4-FFF2-40B4-BE49-F238E27FC236}">
                  <a16:creationId xmlns:a16="http://schemas.microsoft.com/office/drawing/2014/main" id="{A0C07BDD-A509-483E-B26C-611A4A3C3DF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07" name="Group 806">
              <a:extLst>
                <a:ext uri="{FF2B5EF4-FFF2-40B4-BE49-F238E27FC236}">
                  <a16:creationId xmlns:a16="http://schemas.microsoft.com/office/drawing/2014/main" id="{2941FA60-DAF3-421D-9D3E-3E332AD92119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818" name="Oval 817">
                <a:extLst>
                  <a:ext uri="{FF2B5EF4-FFF2-40B4-BE49-F238E27FC236}">
                    <a16:creationId xmlns:a16="http://schemas.microsoft.com/office/drawing/2014/main" id="{3D47589C-BC18-447E-B94B-30F12457DFCF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9" name="Oval 818">
                <a:extLst>
                  <a:ext uri="{FF2B5EF4-FFF2-40B4-BE49-F238E27FC236}">
                    <a16:creationId xmlns:a16="http://schemas.microsoft.com/office/drawing/2014/main" id="{A7834024-9CC0-4DA8-B73F-239A3D038EBA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0" name="Oval 819">
                <a:extLst>
                  <a:ext uri="{FF2B5EF4-FFF2-40B4-BE49-F238E27FC236}">
                    <a16:creationId xmlns:a16="http://schemas.microsoft.com/office/drawing/2014/main" id="{60A29ED5-FEDF-44A5-8D96-8133BE3C036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1" name="Oval 820">
                <a:extLst>
                  <a:ext uri="{FF2B5EF4-FFF2-40B4-BE49-F238E27FC236}">
                    <a16:creationId xmlns:a16="http://schemas.microsoft.com/office/drawing/2014/main" id="{3AE7B335-C84F-4575-AE75-8B7585552EC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08" name="Oval 807">
              <a:extLst>
                <a:ext uri="{FF2B5EF4-FFF2-40B4-BE49-F238E27FC236}">
                  <a16:creationId xmlns:a16="http://schemas.microsoft.com/office/drawing/2014/main" id="{0C00A7D4-835F-44E2-9E21-AB517BCBE7A7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09" name="Oval 808">
              <a:extLst>
                <a:ext uri="{FF2B5EF4-FFF2-40B4-BE49-F238E27FC236}">
                  <a16:creationId xmlns:a16="http://schemas.microsoft.com/office/drawing/2014/main" id="{CF22A108-C5C4-41AE-AB62-8B68C56A0315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0" name="Oval 809">
              <a:extLst>
                <a:ext uri="{FF2B5EF4-FFF2-40B4-BE49-F238E27FC236}">
                  <a16:creationId xmlns:a16="http://schemas.microsoft.com/office/drawing/2014/main" id="{D8C41578-036C-42B9-BEB5-5E75D84B92F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1" name="Oval 810">
              <a:extLst>
                <a:ext uri="{FF2B5EF4-FFF2-40B4-BE49-F238E27FC236}">
                  <a16:creationId xmlns:a16="http://schemas.microsoft.com/office/drawing/2014/main" id="{ED407F25-8CB6-4EDB-A595-40D3F12D077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2" name="Oval 811">
              <a:extLst>
                <a:ext uri="{FF2B5EF4-FFF2-40B4-BE49-F238E27FC236}">
                  <a16:creationId xmlns:a16="http://schemas.microsoft.com/office/drawing/2014/main" id="{498ABD58-F06E-4B94-B9F4-5BECDB694D5B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3" name="Oval 812">
              <a:extLst>
                <a:ext uri="{FF2B5EF4-FFF2-40B4-BE49-F238E27FC236}">
                  <a16:creationId xmlns:a16="http://schemas.microsoft.com/office/drawing/2014/main" id="{2A5ECB47-7295-4922-B7A4-DE5C21E753E7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4" name="Oval 813">
              <a:extLst>
                <a:ext uri="{FF2B5EF4-FFF2-40B4-BE49-F238E27FC236}">
                  <a16:creationId xmlns:a16="http://schemas.microsoft.com/office/drawing/2014/main" id="{96C5DCE1-56CC-4406-926A-925A3CE2D143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5" name="Oval 814">
              <a:extLst>
                <a:ext uri="{FF2B5EF4-FFF2-40B4-BE49-F238E27FC236}">
                  <a16:creationId xmlns:a16="http://schemas.microsoft.com/office/drawing/2014/main" id="{D5224315-9247-4E9B-AFB5-9BDAB3028604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6" name="Oval 815">
              <a:extLst>
                <a:ext uri="{FF2B5EF4-FFF2-40B4-BE49-F238E27FC236}">
                  <a16:creationId xmlns:a16="http://schemas.microsoft.com/office/drawing/2014/main" id="{D95BD531-A95C-48CB-A040-5BFF3DAF0945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7" name="Oval 816">
              <a:extLst>
                <a:ext uri="{FF2B5EF4-FFF2-40B4-BE49-F238E27FC236}">
                  <a16:creationId xmlns:a16="http://schemas.microsoft.com/office/drawing/2014/main" id="{4A546BC6-BC33-4D35-9FA6-D2508A5F1CAA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6" name="Group 525">
            <a:extLst>
              <a:ext uri="{FF2B5EF4-FFF2-40B4-BE49-F238E27FC236}">
                <a16:creationId xmlns:a16="http://schemas.microsoft.com/office/drawing/2014/main" id="{5B3F325B-D188-40CA-BD22-FEE074546883}"/>
              </a:ext>
            </a:extLst>
          </p:cNvPr>
          <p:cNvGrpSpPr/>
          <p:nvPr/>
        </p:nvGrpSpPr>
        <p:grpSpPr>
          <a:xfrm>
            <a:off x="5543478" y="6287627"/>
            <a:ext cx="2609224" cy="643538"/>
            <a:chOff x="330424" y="3751799"/>
            <a:chExt cx="15193725" cy="3747377"/>
          </a:xfrm>
        </p:grpSpPr>
        <p:sp>
          <p:nvSpPr>
            <p:cNvPr id="742" name="Arrow: Pentagon 741">
              <a:extLst>
                <a:ext uri="{FF2B5EF4-FFF2-40B4-BE49-F238E27FC236}">
                  <a16:creationId xmlns:a16="http://schemas.microsoft.com/office/drawing/2014/main" id="{3B7B859B-C63A-4032-A178-5CFB8845C6D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43" name="Straight Connector 742">
              <a:extLst>
                <a:ext uri="{FF2B5EF4-FFF2-40B4-BE49-F238E27FC236}">
                  <a16:creationId xmlns:a16="http://schemas.microsoft.com/office/drawing/2014/main" id="{A58BB82A-F0E5-49C1-8C10-1339FE82308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4" name="Straight Connector 743">
              <a:extLst>
                <a:ext uri="{FF2B5EF4-FFF2-40B4-BE49-F238E27FC236}">
                  <a16:creationId xmlns:a16="http://schemas.microsoft.com/office/drawing/2014/main" id="{9718B50B-185B-4279-82A6-3E0315409A1B}"/>
                </a:ext>
              </a:extLst>
            </p:cNvPr>
            <p:cNvCxnSpPr>
              <a:cxnSpLocks/>
              <a:endCxn id="78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5" name="Straight Connector 744">
              <a:extLst>
                <a:ext uri="{FF2B5EF4-FFF2-40B4-BE49-F238E27FC236}">
                  <a16:creationId xmlns:a16="http://schemas.microsoft.com/office/drawing/2014/main" id="{1261DFA6-B203-4ABE-9FCB-85A87C6686D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6" name="Straight Connector 745">
              <a:extLst>
                <a:ext uri="{FF2B5EF4-FFF2-40B4-BE49-F238E27FC236}">
                  <a16:creationId xmlns:a16="http://schemas.microsoft.com/office/drawing/2014/main" id="{F1D2B093-0767-4D3F-9846-088235520E8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7" name="Straight Connector 746">
              <a:extLst>
                <a:ext uri="{FF2B5EF4-FFF2-40B4-BE49-F238E27FC236}">
                  <a16:creationId xmlns:a16="http://schemas.microsoft.com/office/drawing/2014/main" id="{2F62253C-5EAC-4942-ACC0-844B97CA3C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48" name="Oval 747">
              <a:extLst>
                <a:ext uri="{FF2B5EF4-FFF2-40B4-BE49-F238E27FC236}">
                  <a16:creationId xmlns:a16="http://schemas.microsoft.com/office/drawing/2014/main" id="{6D9041F9-0A68-4A1A-96C7-8889616A728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49" name="Oval 748">
              <a:extLst>
                <a:ext uri="{FF2B5EF4-FFF2-40B4-BE49-F238E27FC236}">
                  <a16:creationId xmlns:a16="http://schemas.microsoft.com/office/drawing/2014/main" id="{60DAB9A8-BDBC-4A96-9500-E36402A191F3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50" name="Straight Connector 749">
              <a:extLst>
                <a:ext uri="{FF2B5EF4-FFF2-40B4-BE49-F238E27FC236}">
                  <a16:creationId xmlns:a16="http://schemas.microsoft.com/office/drawing/2014/main" id="{133AEAB9-DC9E-4D96-B77B-F87E9A700CC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1" name="Straight Connector 750">
              <a:extLst>
                <a:ext uri="{FF2B5EF4-FFF2-40B4-BE49-F238E27FC236}">
                  <a16:creationId xmlns:a16="http://schemas.microsoft.com/office/drawing/2014/main" id="{6EF305B6-A6BC-4870-9E64-2A80A79B782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2" name="Straight Connector 751">
              <a:extLst>
                <a:ext uri="{FF2B5EF4-FFF2-40B4-BE49-F238E27FC236}">
                  <a16:creationId xmlns:a16="http://schemas.microsoft.com/office/drawing/2014/main" id="{D3A0A6D5-11FE-40E2-BE27-622B46B60E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3" name="Straight Connector 752">
              <a:extLst>
                <a:ext uri="{FF2B5EF4-FFF2-40B4-BE49-F238E27FC236}">
                  <a16:creationId xmlns:a16="http://schemas.microsoft.com/office/drawing/2014/main" id="{B5EC1B65-3D80-4805-972A-628D6E7964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4" name="Straight Connector 753">
              <a:extLst>
                <a:ext uri="{FF2B5EF4-FFF2-40B4-BE49-F238E27FC236}">
                  <a16:creationId xmlns:a16="http://schemas.microsoft.com/office/drawing/2014/main" id="{34C12D0B-7B53-4D99-8D5C-E57891853DF5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5" name="Straight Connector 754">
              <a:extLst>
                <a:ext uri="{FF2B5EF4-FFF2-40B4-BE49-F238E27FC236}">
                  <a16:creationId xmlns:a16="http://schemas.microsoft.com/office/drawing/2014/main" id="{253A1097-41F1-4971-92FE-D91706A19A9E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6" name="Straight Connector 755">
              <a:extLst>
                <a:ext uri="{FF2B5EF4-FFF2-40B4-BE49-F238E27FC236}">
                  <a16:creationId xmlns:a16="http://schemas.microsoft.com/office/drawing/2014/main" id="{5576C8C2-27CB-4E72-B8D2-992615BFFCF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57" name="Group 756">
              <a:extLst>
                <a:ext uri="{FF2B5EF4-FFF2-40B4-BE49-F238E27FC236}">
                  <a16:creationId xmlns:a16="http://schemas.microsoft.com/office/drawing/2014/main" id="{DB43B953-2851-428E-93A4-C9B56E62361B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780" name="Oval 779">
                <a:extLst>
                  <a:ext uri="{FF2B5EF4-FFF2-40B4-BE49-F238E27FC236}">
                    <a16:creationId xmlns:a16="http://schemas.microsoft.com/office/drawing/2014/main" id="{6F7172EF-6828-4C6D-B34B-AC64A49A0E8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1" name="Oval 780">
                <a:extLst>
                  <a:ext uri="{FF2B5EF4-FFF2-40B4-BE49-F238E27FC236}">
                    <a16:creationId xmlns:a16="http://schemas.microsoft.com/office/drawing/2014/main" id="{E09F048F-AAAC-4465-AABD-4F2A030D2800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2" name="Oval 781">
                <a:extLst>
                  <a:ext uri="{FF2B5EF4-FFF2-40B4-BE49-F238E27FC236}">
                    <a16:creationId xmlns:a16="http://schemas.microsoft.com/office/drawing/2014/main" id="{20FBD098-52FD-47A1-93F5-6EAC08AF35E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3" name="Oval 782">
                <a:extLst>
                  <a:ext uri="{FF2B5EF4-FFF2-40B4-BE49-F238E27FC236}">
                    <a16:creationId xmlns:a16="http://schemas.microsoft.com/office/drawing/2014/main" id="{49283FA7-51C0-4E8B-8BFF-290698A2A2B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58" name="Oval 757">
              <a:extLst>
                <a:ext uri="{FF2B5EF4-FFF2-40B4-BE49-F238E27FC236}">
                  <a16:creationId xmlns:a16="http://schemas.microsoft.com/office/drawing/2014/main" id="{8C4A2FAE-C04B-4460-9FCD-7BB260833792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759" name="Straight Connector 758">
              <a:extLst>
                <a:ext uri="{FF2B5EF4-FFF2-40B4-BE49-F238E27FC236}">
                  <a16:creationId xmlns:a16="http://schemas.microsoft.com/office/drawing/2014/main" id="{074797DF-D07C-4CFF-A645-6F27208438E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0" name="Straight Connector 759">
              <a:extLst>
                <a:ext uri="{FF2B5EF4-FFF2-40B4-BE49-F238E27FC236}">
                  <a16:creationId xmlns:a16="http://schemas.microsoft.com/office/drawing/2014/main" id="{BB3B6828-E0FF-4335-83D2-9E92FD962A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61" name="Oval 760">
              <a:extLst>
                <a:ext uri="{FF2B5EF4-FFF2-40B4-BE49-F238E27FC236}">
                  <a16:creationId xmlns:a16="http://schemas.microsoft.com/office/drawing/2014/main" id="{5DFE3A97-2C8B-4921-8703-8052F3625759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62" name="Oval 761">
              <a:extLst>
                <a:ext uri="{FF2B5EF4-FFF2-40B4-BE49-F238E27FC236}">
                  <a16:creationId xmlns:a16="http://schemas.microsoft.com/office/drawing/2014/main" id="{A398F022-A1B3-4D47-A03C-29D2CE9A6837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63" name="Straight Connector 762">
              <a:extLst>
                <a:ext uri="{FF2B5EF4-FFF2-40B4-BE49-F238E27FC236}">
                  <a16:creationId xmlns:a16="http://schemas.microsoft.com/office/drawing/2014/main" id="{F5336D7F-360F-4B45-B9A4-FD2CBB1D0BD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4" name="Straight Connector 763">
              <a:extLst>
                <a:ext uri="{FF2B5EF4-FFF2-40B4-BE49-F238E27FC236}">
                  <a16:creationId xmlns:a16="http://schemas.microsoft.com/office/drawing/2014/main" id="{ED3908CE-24B5-470B-A28C-9E5838854C7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65" name="Group 764">
              <a:extLst>
                <a:ext uri="{FF2B5EF4-FFF2-40B4-BE49-F238E27FC236}">
                  <a16:creationId xmlns:a16="http://schemas.microsoft.com/office/drawing/2014/main" id="{047FD26B-B66A-4CE1-ADAB-3A0739806D20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776" name="Oval 775">
                <a:extLst>
                  <a:ext uri="{FF2B5EF4-FFF2-40B4-BE49-F238E27FC236}">
                    <a16:creationId xmlns:a16="http://schemas.microsoft.com/office/drawing/2014/main" id="{4C9543F3-C863-42AE-9918-DC7DF73ED63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7" name="Oval 776">
                <a:extLst>
                  <a:ext uri="{FF2B5EF4-FFF2-40B4-BE49-F238E27FC236}">
                    <a16:creationId xmlns:a16="http://schemas.microsoft.com/office/drawing/2014/main" id="{7D17FE72-9EE4-469C-B454-73FB7C8355A3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8" name="Oval 777">
                <a:extLst>
                  <a:ext uri="{FF2B5EF4-FFF2-40B4-BE49-F238E27FC236}">
                    <a16:creationId xmlns:a16="http://schemas.microsoft.com/office/drawing/2014/main" id="{651C1CEA-C76B-49D8-A69E-2481495AB14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9" name="Oval 778">
                <a:extLst>
                  <a:ext uri="{FF2B5EF4-FFF2-40B4-BE49-F238E27FC236}">
                    <a16:creationId xmlns:a16="http://schemas.microsoft.com/office/drawing/2014/main" id="{6C6FF5A0-B1CA-4741-B639-62C47F650CAA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66" name="Oval 765">
              <a:extLst>
                <a:ext uri="{FF2B5EF4-FFF2-40B4-BE49-F238E27FC236}">
                  <a16:creationId xmlns:a16="http://schemas.microsoft.com/office/drawing/2014/main" id="{6E2481FF-2BCA-47E7-A225-4A63B650695B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7" name="Oval 766">
              <a:extLst>
                <a:ext uri="{FF2B5EF4-FFF2-40B4-BE49-F238E27FC236}">
                  <a16:creationId xmlns:a16="http://schemas.microsoft.com/office/drawing/2014/main" id="{0B9EC9D5-AE57-4326-9F5C-6EE8E9DCA202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8" name="Oval 767">
              <a:extLst>
                <a:ext uri="{FF2B5EF4-FFF2-40B4-BE49-F238E27FC236}">
                  <a16:creationId xmlns:a16="http://schemas.microsoft.com/office/drawing/2014/main" id="{FA6A5DB2-743D-4531-A807-AA90B5A58450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9" name="Oval 768">
              <a:extLst>
                <a:ext uri="{FF2B5EF4-FFF2-40B4-BE49-F238E27FC236}">
                  <a16:creationId xmlns:a16="http://schemas.microsoft.com/office/drawing/2014/main" id="{B547DC9C-563B-4279-8A43-9E08F9B4E83B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0" name="Oval 769">
              <a:extLst>
                <a:ext uri="{FF2B5EF4-FFF2-40B4-BE49-F238E27FC236}">
                  <a16:creationId xmlns:a16="http://schemas.microsoft.com/office/drawing/2014/main" id="{D317774D-9601-4DC5-94D1-25327E7859C1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1" name="Oval 770">
              <a:extLst>
                <a:ext uri="{FF2B5EF4-FFF2-40B4-BE49-F238E27FC236}">
                  <a16:creationId xmlns:a16="http://schemas.microsoft.com/office/drawing/2014/main" id="{B13C9CB1-D326-4820-999D-3506BEA2B946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2" name="Oval 771">
              <a:extLst>
                <a:ext uri="{FF2B5EF4-FFF2-40B4-BE49-F238E27FC236}">
                  <a16:creationId xmlns:a16="http://schemas.microsoft.com/office/drawing/2014/main" id="{B36588BA-09DE-4DD2-BD59-F9FFB52E36D8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3" name="Oval 772">
              <a:extLst>
                <a:ext uri="{FF2B5EF4-FFF2-40B4-BE49-F238E27FC236}">
                  <a16:creationId xmlns:a16="http://schemas.microsoft.com/office/drawing/2014/main" id="{6AC16526-6E22-4B9A-B7D6-9CCC3E23949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4" name="Oval 773">
              <a:extLst>
                <a:ext uri="{FF2B5EF4-FFF2-40B4-BE49-F238E27FC236}">
                  <a16:creationId xmlns:a16="http://schemas.microsoft.com/office/drawing/2014/main" id="{65B97AFD-5D34-4FC7-8792-367961B6B75D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5" name="Oval 774">
              <a:extLst>
                <a:ext uri="{FF2B5EF4-FFF2-40B4-BE49-F238E27FC236}">
                  <a16:creationId xmlns:a16="http://schemas.microsoft.com/office/drawing/2014/main" id="{4A18FEF9-DB9C-41D8-897D-5FFAD7484685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8" name="Group 527">
            <a:extLst>
              <a:ext uri="{FF2B5EF4-FFF2-40B4-BE49-F238E27FC236}">
                <a16:creationId xmlns:a16="http://schemas.microsoft.com/office/drawing/2014/main" id="{DE4F85B5-8D7E-4AE3-8131-6D9F0173065E}"/>
              </a:ext>
            </a:extLst>
          </p:cNvPr>
          <p:cNvGrpSpPr/>
          <p:nvPr/>
        </p:nvGrpSpPr>
        <p:grpSpPr>
          <a:xfrm>
            <a:off x="11859833" y="6196200"/>
            <a:ext cx="2609224" cy="643538"/>
            <a:chOff x="330424" y="3751799"/>
            <a:chExt cx="15193725" cy="3747377"/>
          </a:xfrm>
        </p:grpSpPr>
        <p:sp>
          <p:nvSpPr>
            <p:cNvPr id="658" name="Arrow: Pentagon 657">
              <a:extLst>
                <a:ext uri="{FF2B5EF4-FFF2-40B4-BE49-F238E27FC236}">
                  <a16:creationId xmlns:a16="http://schemas.microsoft.com/office/drawing/2014/main" id="{7FD99CB4-5FC5-48DE-9368-E2A905A961D9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59" name="Straight Connector 658">
              <a:extLst>
                <a:ext uri="{FF2B5EF4-FFF2-40B4-BE49-F238E27FC236}">
                  <a16:creationId xmlns:a16="http://schemas.microsoft.com/office/drawing/2014/main" id="{5DA1C7D1-FB23-4273-B7D0-408F141C08C7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0" name="Straight Connector 659">
              <a:extLst>
                <a:ext uri="{FF2B5EF4-FFF2-40B4-BE49-F238E27FC236}">
                  <a16:creationId xmlns:a16="http://schemas.microsoft.com/office/drawing/2014/main" id="{791280A7-598B-485A-BFA4-F80BAA735A85}"/>
                </a:ext>
              </a:extLst>
            </p:cNvPr>
            <p:cNvCxnSpPr>
              <a:cxnSpLocks/>
              <a:endCxn id="69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1" name="Straight Connector 660">
              <a:extLst>
                <a:ext uri="{FF2B5EF4-FFF2-40B4-BE49-F238E27FC236}">
                  <a16:creationId xmlns:a16="http://schemas.microsoft.com/office/drawing/2014/main" id="{21FA7DFD-724A-4E5E-928A-3882DDDB93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2" name="Straight Connector 661">
              <a:extLst>
                <a:ext uri="{FF2B5EF4-FFF2-40B4-BE49-F238E27FC236}">
                  <a16:creationId xmlns:a16="http://schemas.microsoft.com/office/drawing/2014/main" id="{9DCAE51C-C314-4DFA-B66E-9ABF81A88F2B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3" name="Straight Connector 662">
              <a:extLst>
                <a:ext uri="{FF2B5EF4-FFF2-40B4-BE49-F238E27FC236}">
                  <a16:creationId xmlns:a16="http://schemas.microsoft.com/office/drawing/2014/main" id="{FA86769F-0B19-49F9-9E08-FB91B877E4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64" name="Oval 663">
              <a:extLst>
                <a:ext uri="{FF2B5EF4-FFF2-40B4-BE49-F238E27FC236}">
                  <a16:creationId xmlns:a16="http://schemas.microsoft.com/office/drawing/2014/main" id="{50CBCBE2-16D6-4756-AE18-82E824438680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65" name="Oval 664">
              <a:extLst>
                <a:ext uri="{FF2B5EF4-FFF2-40B4-BE49-F238E27FC236}">
                  <a16:creationId xmlns:a16="http://schemas.microsoft.com/office/drawing/2014/main" id="{8124B106-8A81-4B80-9FD7-B88C9FE3E421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66" name="Straight Connector 665">
              <a:extLst>
                <a:ext uri="{FF2B5EF4-FFF2-40B4-BE49-F238E27FC236}">
                  <a16:creationId xmlns:a16="http://schemas.microsoft.com/office/drawing/2014/main" id="{6F865777-C4C5-4F67-A35C-A8A180FA57E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7" name="Straight Connector 666">
              <a:extLst>
                <a:ext uri="{FF2B5EF4-FFF2-40B4-BE49-F238E27FC236}">
                  <a16:creationId xmlns:a16="http://schemas.microsoft.com/office/drawing/2014/main" id="{B9CB82C6-6152-476C-B832-B379E58527A0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8" name="Straight Connector 667">
              <a:extLst>
                <a:ext uri="{FF2B5EF4-FFF2-40B4-BE49-F238E27FC236}">
                  <a16:creationId xmlns:a16="http://schemas.microsoft.com/office/drawing/2014/main" id="{0B69AC65-8EF1-4E6C-BEDF-60DDEE92FE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9" name="Straight Connector 668">
              <a:extLst>
                <a:ext uri="{FF2B5EF4-FFF2-40B4-BE49-F238E27FC236}">
                  <a16:creationId xmlns:a16="http://schemas.microsoft.com/office/drawing/2014/main" id="{7F219D09-6586-4123-9329-72831FFC27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0" name="Straight Connector 669">
              <a:extLst>
                <a:ext uri="{FF2B5EF4-FFF2-40B4-BE49-F238E27FC236}">
                  <a16:creationId xmlns:a16="http://schemas.microsoft.com/office/drawing/2014/main" id="{1D1B0887-23E5-409E-8553-D218B1564709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1" name="Straight Connector 670">
              <a:extLst>
                <a:ext uri="{FF2B5EF4-FFF2-40B4-BE49-F238E27FC236}">
                  <a16:creationId xmlns:a16="http://schemas.microsoft.com/office/drawing/2014/main" id="{C4010D17-46BB-45F5-B9A1-8C83C901ED3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2" name="Straight Connector 671">
              <a:extLst>
                <a:ext uri="{FF2B5EF4-FFF2-40B4-BE49-F238E27FC236}">
                  <a16:creationId xmlns:a16="http://schemas.microsoft.com/office/drawing/2014/main" id="{8DA4977D-B284-4E20-A1A9-0E6E4AB3BA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73" name="Group 672">
              <a:extLst>
                <a:ext uri="{FF2B5EF4-FFF2-40B4-BE49-F238E27FC236}">
                  <a16:creationId xmlns:a16="http://schemas.microsoft.com/office/drawing/2014/main" id="{C52071CE-9638-4254-99A7-50C6AB6D243E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96" name="Oval 695">
                <a:extLst>
                  <a:ext uri="{FF2B5EF4-FFF2-40B4-BE49-F238E27FC236}">
                    <a16:creationId xmlns:a16="http://schemas.microsoft.com/office/drawing/2014/main" id="{B9E39395-035C-4F81-A6C8-49DFD5F7B83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7" name="Oval 696">
                <a:extLst>
                  <a:ext uri="{FF2B5EF4-FFF2-40B4-BE49-F238E27FC236}">
                    <a16:creationId xmlns:a16="http://schemas.microsoft.com/office/drawing/2014/main" id="{FFDB2ABF-C854-4DCE-B462-D3E7782B7D0C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8" name="Oval 697">
                <a:extLst>
                  <a:ext uri="{FF2B5EF4-FFF2-40B4-BE49-F238E27FC236}">
                    <a16:creationId xmlns:a16="http://schemas.microsoft.com/office/drawing/2014/main" id="{F6398A16-2B54-4B3B-820D-258F7C297483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9" name="Oval 698">
                <a:extLst>
                  <a:ext uri="{FF2B5EF4-FFF2-40B4-BE49-F238E27FC236}">
                    <a16:creationId xmlns:a16="http://schemas.microsoft.com/office/drawing/2014/main" id="{497C5A6B-E41D-4A2C-B31F-E840941881AA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74" name="Oval 673">
              <a:extLst>
                <a:ext uri="{FF2B5EF4-FFF2-40B4-BE49-F238E27FC236}">
                  <a16:creationId xmlns:a16="http://schemas.microsoft.com/office/drawing/2014/main" id="{F8E95F99-F81A-4CCD-8F17-50579C9AB84F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75" name="Straight Connector 674">
              <a:extLst>
                <a:ext uri="{FF2B5EF4-FFF2-40B4-BE49-F238E27FC236}">
                  <a16:creationId xmlns:a16="http://schemas.microsoft.com/office/drawing/2014/main" id="{C01AFF28-8216-4B88-B52F-FE49B0E8C05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6" name="Straight Connector 675">
              <a:extLst>
                <a:ext uri="{FF2B5EF4-FFF2-40B4-BE49-F238E27FC236}">
                  <a16:creationId xmlns:a16="http://schemas.microsoft.com/office/drawing/2014/main" id="{C51B9A7A-29B6-4D86-89D8-8D3B7AF8F4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77" name="Oval 676">
              <a:extLst>
                <a:ext uri="{FF2B5EF4-FFF2-40B4-BE49-F238E27FC236}">
                  <a16:creationId xmlns:a16="http://schemas.microsoft.com/office/drawing/2014/main" id="{D8B738FA-4154-4EA9-8EB9-549E56C674A3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78" name="Oval 677">
              <a:extLst>
                <a:ext uri="{FF2B5EF4-FFF2-40B4-BE49-F238E27FC236}">
                  <a16:creationId xmlns:a16="http://schemas.microsoft.com/office/drawing/2014/main" id="{4DC242E2-B38E-435E-8352-01042872188F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79" name="Straight Connector 678">
              <a:extLst>
                <a:ext uri="{FF2B5EF4-FFF2-40B4-BE49-F238E27FC236}">
                  <a16:creationId xmlns:a16="http://schemas.microsoft.com/office/drawing/2014/main" id="{329B81D3-FB44-4202-80A7-6868A9A7612A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80" name="Straight Connector 679">
              <a:extLst>
                <a:ext uri="{FF2B5EF4-FFF2-40B4-BE49-F238E27FC236}">
                  <a16:creationId xmlns:a16="http://schemas.microsoft.com/office/drawing/2014/main" id="{3DC6C95A-C170-487D-8A28-632554D9BD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81" name="Group 680">
              <a:extLst>
                <a:ext uri="{FF2B5EF4-FFF2-40B4-BE49-F238E27FC236}">
                  <a16:creationId xmlns:a16="http://schemas.microsoft.com/office/drawing/2014/main" id="{960B3980-D869-4671-BD8C-CC94B3342FB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92" name="Oval 691">
                <a:extLst>
                  <a:ext uri="{FF2B5EF4-FFF2-40B4-BE49-F238E27FC236}">
                    <a16:creationId xmlns:a16="http://schemas.microsoft.com/office/drawing/2014/main" id="{9EA67D3A-5CBB-4DED-81C4-7F4F0701A88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3" name="Oval 692">
                <a:extLst>
                  <a:ext uri="{FF2B5EF4-FFF2-40B4-BE49-F238E27FC236}">
                    <a16:creationId xmlns:a16="http://schemas.microsoft.com/office/drawing/2014/main" id="{832A02D9-9E55-47DA-AB76-A0FD3FAA5E1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4" name="Oval 693">
                <a:extLst>
                  <a:ext uri="{FF2B5EF4-FFF2-40B4-BE49-F238E27FC236}">
                    <a16:creationId xmlns:a16="http://schemas.microsoft.com/office/drawing/2014/main" id="{08E7C14C-5E03-47E2-A48F-D0712F4BBAA1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5" name="Oval 694">
                <a:extLst>
                  <a:ext uri="{FF2B5EF4-FFF2-40B4-BE49-F238E27FC236}">
                    <a16:creationId xmlns:a16="http://schemas.microsoft.com/office/drawing/2014/main" id="{69EF9915-8738-4DAA-9F16-E129F8D69B9C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82" name="Oval 681">
              <a:extLst>
                <a:ext uri="{FF2B5EF4-FFF2-40B4-BE49-F238E27FC236}">
                  <a16:creationId xmlns:a16="http://schemas.microsoft.com/office/drawing/2014/main" id="{B3C56974-C24C-4D3E-8F22-DD88B0A52B51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3" name="Oval 682">
              <a:extLst>
                <a:ext uri="{FF2B5EF4-FFF2-40B4-BE49-F238E27FC236}">
                  <a16:creationId xmlns:a16="http://schemas.microsoft.com/office/drawing/2014/main" id="{C0B427FD-0A3F-4A84-BF0F-D464A7EBCE7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4" name="Oval 683">
              <a:extLst>
                <a:ext uri="{FF2B5EF4-FFF2-40B4-BE49-F238E27FC236}">
                  <a16:creationId xmlns:a16="http://schemas.microsoft.com/office/drawing/2014/main" id="{C33E21FA-6C92-45FB-A7E1-09FC55D7CCA1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5" name="Oval 684">
              <a:extLst>
                <a:ext uri="{FF2B5EF4-FFF2-40B4-BE49-F238E27FC236}">
                  <a16:creationId xmlns:a16="http://schemas.microsoft.com/office/drawing/2014/main" id="{34CD798B-74A7-4AAC-89EB-2830C6CDDA93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6" name="Oval 685">
              <a:extLst>
                <a:ext uri="{FF2B5EF4-FFF2-40B4-BE49-F238E27FC236}">
                  <a16:creationId xmlns:a16="http://schemas.microsoft.com/office/drawing/2014/main" id="{9D7B21A1-1B99-40BE-A264-064F871E7C8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7" name="Oval 686">
              <a:extLst>
                <a:ext uri="{FF2B5EF4-FFF2-40B4-BE49-F238E27FC236}">
                  <a16:creationId xmlns:a16="http://schemas.microsoft.com/office/drawing/2014/main" id="{30548C90-A6D1-4AD5-BCFE-99A23742F724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8" name="Oval 687">
              <a:extLst>
                <a:ext uri="{FF2B5EF4-FFF2-40B4-BE49-F238E27FC236}">
                  <a16:creationId xmlns:a16="http://schemas.microsoft.com/office/drawing/2014/main" id="{3EEEA5A5-E470-424D-8A74-9B29BE67265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9" name="Oval 688">
              <a:extLst>
                <a:ext uri="{FF2B5EF4-FFF2-40B4-BE49-F238E27FC236}">
                  <a16:creationId xmlns:a16="http://schemas.microsoft.com/office/drawing/2014/main" id="{A36E4257-4236-4C3B-BD24-0D11A6E04D90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0" name="Oval 689">
              <a:extLst>
                <a:ext uri="{FF2B5EF4-FFF2-40B4-BE49-F238E27FC236}">
                  <a16:creationId xmlns:a16="http://schemas.microsoft.com/office/drawing/2014/main" id="{4A49024E-19E7-48B5-A316-CAA8D53B999D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1" name="Oval 690">
              <a:extLst>
                <a:ext uri="{FF2B5EF4-FFF2-40B4-BE49-F238E27FC236}">
                  <a16:creationId xmlns:a16="http://schemas.microsoft.com/office/drawing/2014/main" id="{28A84423-B972-4E53-8C53-5F3AB77CDF6B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9" name="Group 528">
            <a:extLst>
              <a:ext uri="{FF2B5EF4-FFF2-40B4-BE49-F238E27FC236}">
                <a16:creationId xmlns:a16="http://schemas.microsoft.com/office/drawing/2014/main" id="{A0BC5850-0B4E-49A2-8A6E-0BD9884B2F60}"/>
              </a:ext>
            </a:extLst>
          </p:cNvPr>
          <p:cNvGrpSpPr/>
          <p:nvPr/>
        </p:nvGrpSpPr>
        <p:grpSpPr>
          <a:xfrm>
            <a:off x="8939804" y="6308525"/>
            <a:ext cx="2609224" cy="643538"/>
            <a:chOff x="330424" y="3751799"/>
            <a:chExt cx="15193725" cy="3747377"/>
          </a:xfrm>
        </p:grpSpPr>
        <p:sp>
          <p:nvSpPr>
            <p:cNvPr id="616" name="Arrow: Pentagon 615">
              <a:extLst>
                <a:ext uri="{FF2B5EF4-FFF2-40B4-BE49-F238E27FC236}">
                  <a16:creationId xmlns:a16="http://schemas.microsoft.com/office/drawing/2014/main" id="{0E4BF522-DD6B-42C6-9428-56772815608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17" name="Straight Connector 616">
              <a:extLst>
                <a:ext uri="{FF2B5EF4-FFF2-40B4-BE49-F238E27FC236}">
                  <a16:creationId xmlns:a16="http://schemas.microsoft.com/office/drawing/2014/main" id="{ECA86436-61D3-46CC-8E1F-CC76D02B729A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8" name="Straight Connector 617">
              <a:extLst>
                <a:ext uri="{FF2B5EF4-FFF2-40B4-BE49-F238E27FC236}">
                  <a16:creationId xmlns:a16="http://schemas.microsoft.com/office/drawing/2014/main" id="{5B452C2B-E595-4889-B24E-EB4413B077D5}"/>
                </a:ext>
              </a:extLst>
            </p:cNvPr>
            <p:cNvCxnSpPr>
              <a:cxnSpLocks/>
              <a:endCxn id="654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9" name="Straight Connector 618">
              <a:extLst>
                <a:ext uri="{FF2B5EF4-FFF2-40B4-BE49-F238E27FC236}">
                  <a16:creationId xmlns:a16="http://schemas.microsoft.com/office/drawing/2014/main" id="{994E82CD-8D8E-40D4-BC37-750DEBED39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0" name="Straight Connector 619">
              <a:extLst>
                <a:ext uri="{FF2B5EF4-FFF2-40B4-BE49-F238E27FC236}">
                  <a16:creationId xmlns:a16="http://schemas.microsoft.com/office/drawing/2014/main" id="{E43ABBA3-C66F-439F-BC54-CEE29D51D26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1" name="Straight Connector 620">
              <a:extLst>
                <a:ext uri="{FF2B5EF4-FFF2-40B4-BE49-F238E27FC236}">
                  <a16:creationId xmlns:a16="http://schemas.microsoft.com/office/drawing/2014/main" id="{1A3FD6CE-6044-48B2-975B-316B8EA7240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22" name="Oval 621">
              <a:extLst>
                <a:ext uri="{FF2B5EF4-FFF2-40B4-BE49-F238E27FC236}">
                  <a16:creationId xmlns:a16="http://schemas.microsoft.com/office/drawing/2014/main" id="{63AC02A8-CCB0-420F-812C-920297995333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23" name="Oval 622">
              <a:extLst>
                <a:ext uri="{FF2B5EF4-FFF2-40B4-BE49-F238E27FC236}">
                  <a16:creationId xmlns:a16="http://schemas.microsoft.com/office/drawing/2014/main" id="{0B12D8C6-3DB5-4AF1-B24D-004C9072EB74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24" name="Straight Connector 623">
              <a:extLst>
                <a:ext uri="{FF2B5EF4-FFF2-40B4-BE49-F238E27FC236}">
                  <a16:creationId xmlns:a16="http://schemas.microsoft.com/office/drawing/2014/main" id="{E0ED83BC-2CE0-452C-B4E7-AE069A5C06C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5" name="Straight Connector 624">
              <a:extLst>
                <a:ext uri="{FF2B5EF4-FFF2-40B4-BE49-F238E27FC236}">
                  <a16:creationId xmlns:a16="http://schemas.microsoft.com/office/drawing/2014/main" id="{D506C2A8-E017-4172-823B-E59ED2714ECD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6" name="Straight Connector 625">
              <a:extLst>
                <a:ext uri="{FF2B5EF4-FFF2-40B4-BE49-F238E27FC236}">
                  <a16:creationId xmlns:a16="http://schemas.microsoft.com/office/drawing/2014/main" id="{2089A159-A66B-4AE9-BBBE-765ED173AE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7" name="Straight Connector 626">
              <a:extLst>
                <a:ext uri="{FF2B5EF4-FFF2-40B4-BE49-F238E27FC236}">
                  <a16:creationId xmlns:a16="http://schemas.microsoft.com/office/drawing/2014/main" id="{5D1CE8A1-156A-4115-872C-A73DB864C5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8" name="Straight Connector 627">
              <a:extLst>
                <a:ext uri="{FF2B5EF4-FFF2-40B4-BE49-F238E27FC236}">
                  <a16:creationId xmlns:a16="http://schemas.microsoft.com/office/drawing/2014/main" id="{5989F0C6-339E-4301-A6D7-FE1B457353BC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9" name="Straight Connector 628">
              <a:extLst>
                <a:ext uri="{FF2B5EF4-FFF2-40B4-BE49-F238E27FC236}">
                  <a16:creationId xmlns:a16="http://schemas.microsoft.com/office/drawing/2014/main" id="{361C9601-EEE5-4B32-9F51-E0713676055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0" name="Straight Connector 629">
              <a:extLst>
                <a:ext uri="{FF2B5EF4-FFF2-40B4-BE49-F238E27FC236}">
                  <a16:creationId xmlns:a16="http://schemas.microsoft.com/office/drawing/2014/main" id="{85311114-30B0-456D-BAAB-5673A56C789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31" name="Group 630">
              <a:extLst>
                <a:ext uri="{FF2B5EF4-FFF2-40B4-BE49-F238E27FC236}">
                  <a16:creationId xmlns:a16="http://schemas.microsoft.com/office/drawing/2014/main" id="{014E4E08-B2F4-4818-87E7-95E80703A5B5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54" name="Oval 653">
                <a:extLst>
                  <a:ext uri="{FF2B5EF4-FFF2-40B4-BE49-F238E27FC236}">
                    <a16:creationId xmlns:a16="http://schemas.microsoft.com/office/drawing/2014/main" id="{1A0D5E7F-3BDE-45FF-84C9-41ABB809515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5" name="Oval 654">
                <a:extLst>
                  <a:ext uri="{FF2B5EF4-FFF2-40B4-BE49-F238E27FC236}">
                    <a16:creationId xmlns:a16="http://schemas.microsoft.com/office/drawing/2014/main" id="{3B790BD4-BAE2-443C-B0D4-2D64653038C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6" name="Oval 655">
                <a:extLst>
                  <a:ext uri="{FF2B5EF4-FFF2-40B4-BE49-F238E27FC236}">
                    <a16:creationId xmlns:a16="http://schemas.microsoft.com/office/drawing/2014/main" id="{3DEB3B70-4D41-4B60-8953-FCD411B81D85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7" name="Oval 656">
                <a:extLst>
                  <a:ext uri="{FF2B5EF4-FFF2-40B4-BE49-F238E27FC236}">
                    <a16:creationId xmlns:a16="http://schemas.microsoft.com/office/drawing/2014/main" id="{D990B09F-D9E2-4033-BA19-FA0C4831761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32" name="Oval 631">
              <a:extLst>
                <a:ext uri="{FF2B5EF4-FFF2-40B4-BE49-F238E27FC236}">
                  <a16:creationId xmlns:a16="http://schemas.microsoft.com/office/drawing/2014/main" id="{D77943FA-1D84-460A-8A77-35857BE6DE6B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33" name="Straight Connector 632">
              <a:extLst>
                <a:ext uri="{FF2B5EF4-FFF2-40B4-BE49-F238E27FC236}">
                  <a16:creationId xmlns:a16="http://schemas.microsoft.com/office/drawing/2014/main" id="{9D8BE631-D67D-41BA-A520-CA8013FC701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4" name="Straight Connector 633">
              <a:extLst>
                <a:ext uri="{FF2B5EF4-FFF2-40B4-BE49-F238E27FC236}">
                  <a16:creationId xmlns:a16="http://schemas.microsoft.com/office/drawing/2014/main" id="{97728FFA-6B8C-4232-9FAC-5E0D204208A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35" name="Oval 634">
              <a:extLst>
                <a:ext uri="{FF2B5EF4-FFF2-40B4-BE49-F238E27FC236}">
                  <a16:creationId xmlns:a16="http://schemas.microsoft.com/office/drawing/2014/main" id="{0C35224C-8312-4510-A918-56029E6D2676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36" name="Oval 635">
              <a:extLst>
                <a:ext uri="{FF2B5EF4-FFF2-40B4-BE49-F238E27FC236}">
                  <a16:creationId xmlns:a16="http://schemas.microsoft.com/office/drawing/2014/main" id="{855D1768-3881-4886-A471-A32E9EA0F71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37" name="Straight Connector 636">
              <a:extLst>
                <a:ext uri="{FF2B5EF4-FFF2-40B4-BE49-F238E27FC236}">
                  <a16:creationId xmlns:a16="http://schemas.microsoft.com/office/drawing/2014/main" id="{CC3A3D21-D8D7-4A4F-8BF7-5953EBAC366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8" name="Straight Connector 637">
              <a:extLst>
                <a:ext uri="{FF2B5EF4-FFF2-40B4-BE49-F238E27FC236}">
                  <a16:creationId xmlns:a16="http://schemas.microsoft.com/office/drawing/2014/main" id="{757412B1-10F8-4726-A1A8-5DD2664BE95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39" name="Group 638">
              <a:extLst>
                <a:ext uri="{FF2B5EF4-FFF2-40B4-BE49-F238E27FC236}">
                  <a16:creationId xmlns:a16="http://schemas.microsoft.com/office/drawing/2014/main" id="{D7A949A6-CCBA-4190-A430-FBA52B8906F6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50" name="Oval 649">
                <a:extLst>
                  <a:ext uri="{FF2B5EF4-FFF2-40B4-BE49-F238E27FC236}">
                    <a16:creationId xmlns:a16="http://schemas.microsoft.com/office/drawing/2014/main" id="{8863B595-3BBE-4CCB-B3ED-804AF3B20C7B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1" name="Oval 650">
                <a:extLst>
                  <a:ext uri="{FF2B5EF4-FFF2-40B4-BE49-F238E27FC236}">
                    <a16:creationId xmlns:a16="http://schemas.microsoft.com/office/drawing/2014/main" id="{4A604FCD-25AC-44DB-82BF-A0CDCE6B360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2" name="Oval 651">
                <a:extLst>
                  <a:ext uri="{FF2B5EF4-FFF2-40B4-BE49-F238E27FC236}">
                    <a16:creationId xmlns:a16="http://schemas.microsoft.com/office/drawing/2014/main" id="{6B7C1321-88AD-4945-8CE9-0306E09F10B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3" name="Oval 652">
                <a:extLst>
                  <a:ext uri="{FF2B5EF4-FFF2-40B4-BE49-F238E27FC236}">
                    <a16:creationId xmlns:a16="http://schemas.microsoft.com/office/drawing/2014/main" id="{AA2A8A1A-C276-49D2-8D02-9E451CA0D5B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40" name="Oval 639">
              <a:extLst>
                <a:ext uri="{FF2B5EF4-FFF2-40B4-BE49-F238E27FC236}">
                  <a16:creationId xmlns:a16="http://schemas.microsoft.com/office/drawing/2014/main" id="{64343499-DBB5-4ABB-A645-532FAE7B9048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1" name="Oval 640">
              <a:extLst>
                <a:ext uri="{FF2B5EF4-FFF2-40B4-BE49-F238E27FC236}">
                  <a16:creationId xmlns:a16="http://schemas.microsoft.com/office/drawing/2014/main" id="{81199B31-EEE8-41D4-B903-B3A0E3F10B2E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2" name="Oval 641">
              <a:extLst>
                <a:ext uri="{FF2B5EF4-FFF2-40B4-BE49-F238E27FC236}">
                  <a16:creationId xmlns:a16="http://schemas.microsoft.com/office/drawing/2014/main" id="{E6A151D1-ECAD-46AE-A760-EE230FC28207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3" name="Oval 642">
              <a:extLst>
                <a:ext uri="{FF2B5EF4-FFF2-40B4-BE49-F238E27FC236}">
                  <a16:creationId xmlns:a16="http://schemas.microsoft.com/office/drawing/2014/main" id="{6591780D-04D9-4418-A587-66043078275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4" name="Oval 643">
              <a:extLst>
                <a:ext uri="{FF2B5EF4-FFF2-40B4-BE49-F238E27FC236}">
                  <a16:creationId xmlns:a16="http://schemas.microsoft.com/office/drawing/2014/main" id="{DBF5EAFE-0FB1-4B2B-AB3A-68B140D42F0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5" name="Oval 644">
              <a:extLst>
                <a:ext uri="{FF2B5EF4-FFF2-40B4-BE49-F238E27FC236}">
                  <a16:creationId xmlns:a16="http://schemas.microsoft.com/office/drawing/2014/main" id="{C53C286C-1E56-4CEA-A941-2CAFDEC1EF28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6" name="Oval 645">
              <a:extLst>
                <a:ext uri="{FF2B5EF4-FFF2-40B4-BE49-F238E27FC236}">
                  <a16:creationId xmlns:a16="http://schemas.microsoft.com/office/drawing/2014/main" id="{32C5D1A9-262C-46AC-84F7-AE486524C8AD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7" name="Oval 646">
              <a:extLst>
                <a:ext uri="{FF2B5EF4-FFF2-40B4-BE49-F238E27FC236}">
                  <a16:creationId xmlns:a16="http://schemas.microsoft.com/office/drawing/2014/main" id="{5C9AA2FB-880D-41D0-A32E-20E660C8A4A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8" name="Oval 647">
              <a:extLst>
                <a:ext uri="{FF2B5EF4-FFF2-40B4-BE49-F238E27FC236}">
                  <a16:creationId xmlns:a16="http://schemas.microsoft.com/office/drawing/2014/main" id="{2D0AFA22-CEB6-4884-9931-2FFF7478CCEB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9" name="Oval 648">
              <a:extLst>
                <a:ext uri="{FF2B5EF4-FFF2-40B4-BE49-F238E27FC236}">
                  <a16:creationId xmlns:a16="http://schemas.microsoft.com/office/drawing/2014/main" id="{D5F7AA49-5CAF-47BC-AFB7-6C255EABF72A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30" name="Group 529">
            <a:extLst>
              <a:ext uri="{FF2B5EF4-FFF2-40B4-BE49-F238E27FC236}">
                <a16:creationId xmlns:a16="http://schemas.microsoft.com/office/drawing/2014/main" id="{D4CE2A97-30E9-48A1-B12C-ECE6383FB89E}"/>
              </a:ext>
            </a:extLst>
          </p:cNvPr>
          <p:cNvGrpSpPr/>
          <p:nvPr/>
        </p:nvGrpSpPr>
        <p:grpSpPr>
          <a:xfrm>
            <a:off x="8574829" y="5186957"/>
            <a:ext cx="2609224" cy="643538"/>
            <a:chOff x="330424" y="3751799"/>
            <a:chExt cx="15193725" cy="3747377"/>
          </a:xfrm>
        </p:grpSpPr>
        <p:sp>
          <p:nvSpPr>
            <p:cNvPr id="574" name="Arrow: Pentagon 573">
              <a:extLst>
                <a:ext uri="{FF2B5EF4-FFF2-40B4-BE49-F238E27FC236}">
                  <a16:creationId xmlns:a16="http://schemas.microsoft.com/office/drawing/2014/main" id="{73AF45ED-3D83-4BCE-952B-A9ADE27E677C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575" name="Straight Connector 574">
              <a:extLst>
                <a:ext uri="{FF2B5EF4-FFF2-40B4-BE49-F238E27FC236}">
                  <a16:creationId xmlns:a16="http://schemas.microsoft.com/office/drawing/2014/main" id="{DFE0E2D2-52B1-446F-9490-368B9BF414FC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6" name="Straight Connector 575">
              <a:extLst>
                <a:ext uri="{FF2B5EF4-FFF2-40B4-BE49-F238E27FC236}">
                  <a16:creationId xmlns:a16="http://schemas.microsoft.com/office/drawing/2014/main" id="{B90A9EFE-1161-4F21-B004-A8A8CCE16E0C}"/>
                </a:ext>
              </a:extLst>
            </p:cNvPr>
            <p:cNvCxnSpPr>
              <a:cxnSpLocks/>
              <a:endCxn id="61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7" name="Straight Connector 576">
              <a:extLst>
                <a:ext uri="{FF2B5EF4-FFF2-40B4-BE49-F238E27FC236}">
                  <a16:creationId xmlns:a16="http://schemas.microsoft.com/office/drawing/2014/main" id="{40048141-1D9F-45D0-87F2-6EC22ECE4D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8" name="Straight Connector 577">
              <a:extLst>
                <a:ext uri="{FF2B5EF4-FFF2-40B4-BE49-F238E27FC236}">
                  <a16:creationId xmlns:a16="http://schemas.microsoft.com/office/drawing/2014/main" id="{CF41C0AD-CA83-4AE8-9B03-A7DAD439837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9" name="Straight Connector 578">
              <a:extLst>
                <a:ext uri="{FF2B5EF4-FFF2-40B4-BE49-F238E27FC236}">
                  <a16:creationId xmlns:a16="http://schemas.microsoft.com/office/drawing/2014/main" id="{5BA6F3C4-1D30-4EBB-B786-C241D0EA37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80" name="Oval 579">
              <a:extLst>
                <a:ext uri="{FF2B5EF4-FFF2-40B4-BE49-F238E27FC236}">
                  <a16:creationId xmlns:a16="http://schemas.microsoft.com/office/drawing/2014/main" id="{B5DAE053-9517-486A-957C-3782E7A98FD1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81" name="Oval 580">
              <a:extLst>
                <a:ext uri="{FF2B5EF4-FFF2-40B4-BE49-F238E27FC236}">
                  <a16:creationId xmlns:a16="http://schemas.microsoft.com/office/drawing/2014/main" id="{49CCA336-B93F-4014-91A5-108F4C705784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82" name="Straight Connector 581">
              <a:extLst>
                <a:ext uri="{FF2B5EF4-FFF2-40B4-BE49-F238E27FC236}">
                  <a16:creationId xmlns:a16="http://schemas.microsoft.com/office/drawing/2014/main" id="{F224D670-3064-4294-842C-61CD0D0C37C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3" name="Straight Connector 582">
              <a:extLst>
                <a:ext uri="{FF2B5EF4-FFF2-40B4-BE49-F238E27FC236}">
                  <a16:creationId xmlns:a16="http://schemas.microsoft.com/office/drawing/2014/main" id="{6EAB0200-6286-4A19-8B90-B08F5A4CA9D1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4" name="Straight Connector 583">
              <a:extLst>
                <a:ext uri="{FF2B5EF4-FFF2-40B4-BE49-F238E27FC236}">
                  <a16:creationId xmlns:a16="http://schemas.microsoft.com/office/drawing/2014/main" id="{3E06DC60-3901-4833-BF1C-EBDB894328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5" name="Straight Connector 584">
              <a:extLst>
                <a:ext uri="{FF2B5EF4-FFF2-40B4-BE49-F238E27FC236}">
                  <a16:creationId xmlns:a16="http://schemas.microsoft.com/office/drawing/2014/main" id="{1F2D29F7-2595-4DD7-91A3-3614FDC72A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6" name="Straight Connector 585">
              <a:extLst>
                <a:ext uri="{FF2B5EF4-FFF2-40B4-BE49-F238E27FC236}">
                  <a16:creationId xmlns:a16="http://schemas.microsoft.com/office/drawing/2014/main" id="{5646C9CF-F99A-49C4-884B-74E0C3AA5BB3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7" name="Straight Connector 586">
              <a:extLst>
                <a:ext uri="{FF2B5EF4-FFF2-40B4-BE49-F238E27FC236}">
                  <a16:creationId xmlns:a16="http://schemas.microsoft.com/office/drawing/2014/main" id="{E2523E82-C92C-46FF-A7FD-4BA32474F7C0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8" name="Straight Connector 587">
              <a:extLst>
                <a:ext uri="{FF2B5EF4-FFF2-40B4-BE49-F238E27FC236}">
                  <a16:creationId xmlns:a16="http://schemas.microsoft.com/office/drawing/2014/main" id="{F58E22DF-8260-4927-B27C-598D961A8A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89" name="Group 588">
              <a:extLst>
                <a:ext uri="{FF2B5EF4-FFF2-40B4-BE49-F238E27FC236}">
                  <a16:creationId xmlns:a16="http://schemas.microsoft.com/office/drawing/2014/main" id="{A5E87FCD-3AAF-4F50-B243-94B3C9B3E7FA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12" name="Oval 611">
                <a:extLst>
                  <a:ext uri="{FF2B5EF4-FFF2-40B4-BE49-F238E27FC236}">
                    <a16:creationId xmlns:a16="http://schemas.microsoft.com/office/drawing/2014/main" id="{FAD1DA9B-3AB8-46B6-A921-FF0CA2CEC27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3" name="Oval 612">
                <a:extLst>
                  <a:ext uri="{FF2B5EF4-FFF2-40B4-BE49-F238E27FC236}">
                    <a16:creationId xmlns:a16="http://schemas.microsoft.com/office/drawing/2014/main" id="{570DD62E-0F77-452F-95B3-80702C11D70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4" name="Oval 613">
                <a:extLst>
                  <a:ext uri="{FF2B5EF4-FFF2-40B4-BE49-F238E27FC236}">
                    <a16:creationId xmlns:a16="http://schemas.microsoft.com/office/drawing/2014/main" id="{3D5D9AC6-CA32-42F7-9988-B67557B2109A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5" name="Oval 614">
                <a:extLst>
                  <a:ext uri="{FF2B5EF4-FFF2-40B4-BE49-F238E27FC236}">
                    <a16:creationId xmlns:a16="http://schemas.microsoft.com/office/drawing/2014/main" id="{A9EAC213-E78F-47DE-AAF7-62F26DF303AC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90" name="Oval 589">
              <a:extLst>
                <a:ext uri="{FF2B5EF4-FFF2-40B4-BE49-F238E27FC236}">
                  <a16:creationId xmlns:a16="http://schemas.microsoft.com/office/drawing/2014/main" id="{01439655-D2EF-4699-BE21-EED37C5CAEB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591" name="Straight Connector 590">
              <a:extLst>
                <a:ext uri="{FF2B5EF4-FFF2-40B4-BE49-F238E27FC236}">
                  <a16:creationId xmlns:a16="http://schemas.microsoft.com/office/drawing/2014/main" id="{7A18D2F3-463D-4384-9D60-E123C34390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2" name="Straight Connector 591">
              <a:extLst>
                <a:ext uri="{FF2B5EF4-FFF2-40B4-BE49-F238E27FC236}">
                  <a16:creationId xmlns:a16="http://schemas.microsoft.com/office/drawing/2014/main" id="{323758D9-501A-4B9F-A11C-0E2271516D1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93" name="Oval 592">
              <a:extLst>
                <a:ext uri="{FF2B5EF4-FFF2-40B4-BE49-F238E27FC236}">
                  <a16:creationId xmlns:a16="http://schemas.microsoft.com/office/drawing/2014/main" id="{98F25BDD-DED9-4E11-BD80-B806CA5DB6BE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94" name="Oval 593">
              <a:extLst>
                <a:ext uri="{FF2B5EF4-FFF2-40B4-BE49-F238E27FC236}">
                  <a16:creationId xmlns:a16="http://schemas.microsoft.com/office/drawing/2014/main" id="{E838A88D-F62E-467E-BF62-44E47A18783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95" name="Straight Connector 594">
              <a:extLst>
                <a:ext uri="{FF2B5EF4-FFF2-40B4-BE49-F238E27FC236}">
                  <a16:creationId xmlns:a16="http://schemas.microsoft.com/office/drawing/2014/main" id="{A1F74D45-710E-4E79-B73B-614D7C9857C5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6" name="Straight Connector 595">
              <a:extLst>
                <a:ext uri="{FF2B5EF4-FFF2-40B4-BE49-F238E27FC236}">
                  <a16:creationId xmlns:a16="http://schemas.microsoft.com/office/drawing/2014/main" id="{639B6CCD-C1D0-4E88-81EF-3ABA23831F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97" name="Group 596">
              <a:extLst>
                <a:ext uri="{FF2B5EF4-FFF2-40B4-BE49-F238E27FC236}">
                  <a16:creationId xmlns:a16="http://schemas.microsoft.com/office/drawing/2014/main" id="{454EA6DB-B17E-4A93-94F4-77E000FA00E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08" name="Oval 607">
                <a:extLst>
                  <a:ext uri="{FF2B5EF4-FFF2-40B4-BE49-F238E27FC236}">
                    <a16:creationId xmlns:a16="http://schemas.microsoft.com/office/drawing/2014/main" id="{5E4D46B7-1D6C-473C-B0B9-E3A9BB2C7B1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9" name="Oval 608">
                <a:extLst>
                  <a:ext uri="{FF2B5EF4-FFF2-40B4-BE49-F238E27FC236}">
                    <a16:creationId xmlns:a16="http://schemas.microsoft.com/office/drawing/2014/main" id="{29CB1F77-CE69-41D1-B582-5917E8D156DD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0" name="Oval 609">
                <a:extLst>
                  <a:ext uri="{FF2B5EF4-FFF2-40B4-BE49-F238E27FC236}">
                    <a16:creationId xmlns:a16="http://schemas.microsoft.com/office/drawing/2014/main" id="{5CFF8310-06F1-4BE7-B93A-D7199AF5EA8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1" name="Oval 610">
                <a:extLst>
                  <a:ext uri="{FF2B5EF4-FFF2-40B4-BE49-F238E27FC236}">
                    <a16:creationId xmlns:a16="http://schemas.microsoft.com/office/drawing/2014/main" id="{3B6C1286-4190-42D4-8BA5-67423F401A57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98" name="Oval 597">
              <a:extLst>
                <a:ext uri="{FF2B5EF4-FFF2-40B4-BE49-F238E27FC236}">
                  <a16:creationId xmlns:a16="http://schemas.microsoft.com/office/drawing/2014/main" id="{52C70A94-68A0-4C2E-B1F4-83979AE8B664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99" name="Oval 598">
              <a:extLst>
                <a:ext uri="{FF2B5EF4-FFF2-40B4-BE49-F238E27FC236}">
                  <a16:creationId xmlns:a16="http://schemas.microsoft.com/office/drawing/2014/main" id="{5CC35C9B-7021-4520-A621-5F89B0C5C7BA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0" name="Oval 599">
              <a:extLst>
                <a:ext uri="{FF2B5EF4-FFF2-40B4-BE49-F238E27FC236}">
                  <a16:creationId xmlns:a16="http://schemas.microsoft.com/office/drawing/2014/main" id="{72BCE379-F25D-4ABE-A7A5-92B6D90EF884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1" name="Oval 600">
              <a:extLst>
                <a:ext uri="{FF2B5EF4-FFF2-40B4-BE49-F238E27FC236}">
                  <a16:creationId xmlns:a16="http://schemas.microsoft.com/office/drawing/2014/main" id="{1E700C57-4EDC-4BA4-85D6-2F854D40220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2" name="Oval 601">
              <a:extLst>
                <a:ext uri="{FF2B5EF4-FFF2-40B4-BE49-F238E27FC236}">
                  <a16:creationId xmlns:a16="http://schemas.microsoft.com/office/drawing/2014/main" id="{7B7939DF-CC19-449D-BA6B-D08AC97B2AC4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3" name="Oval 602">
              <a:extLst>
                <a:ext uri="{FF2B5EF4-FFF2-40B4-BE49-F238E27FC236}">
                  <a16:creationId xmlns:a16="http://schemas.microsoft.com/office/drawing/2014/main" id="{625B94F0-D778-4BE0-9831-F073724D87E2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4" name="Oval 603">
              <a:extLst>
                <a:ext uri="{FF2B5EF4-FFF2-40B4-BE49-F238E27FC236}">
                  <a16:creationId xmlns:a16="http://schemas.microsoft.com/office/drawing/2014/main" id="{CBA179C5-76D4-4D37-A6BB-59D45009FF1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5" name="Oval 604">
              <a:extLst>
                <a:ext uri="{FF2B5EF4-FFF2-40B4-BE49-F238E27FC236}">
                  <a16:creationId xmlns:a16="http://schemas.microsoft.com/office/drawing/2014/main" id="{F04E218F-F9C0-4736-8669-A03B7F93872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6" name="Oval 605">
              <a:extLst>
                <a:ext uri="{FF2B5EF4-FFF2-40B4-BE49-F238E27FC236}">
                  <a16:creationId xmlns:a16="http://schemas.microsoft.com/office/drawing/2014/main" id="{42D6EBA9-8EC5-40FF-BD8A-0FA3EEDD937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7" name="Oval 606">
              <a:extLst>
                <a:ext uri="{FF2B5EF4-FFF2-40B4-BE49-F238E27FC236}">
                  <a16:creationId xmlns:a16="http://schemas.microsoft.com/office/drawing/2014/main" id="{32C2A918-DFA0-4FBE-BD85-D01F26945350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31" name="Group 530">
            <a:extLst>
              <a:ext uri="{FF2B5EF4-FFF2-40B4-BE49-F238E27FC236}">
                <a16:creationId xmlns:a16="http://schemas.microsoft.com/office/drawing/2014/main" id="{67F429F5-9265-4695-B6F8-75A3BA2831EE}"/>
              </a:ext>
            </a:extLst>
          </p:cNvPr>
          <p:cNvGrpSpPr/>
          <p:nvPr/>
        </p:nvGrpSpPr>
        <p:grpSpPr>
          <a:xfrm>
            <a:off x="11728307" y="4662939"/>
            <a:ext cx="2609224" cy="643538"/>
            <a:chOff x="330424" y="3751799"/>
            <a:chExt cx="15193725" cy="3747377"/>
          </a:xfrm>
        </p:grpSpPr>
        <p:sp>
          <p:nvSpPr>
            <p:cNvPr id="532" name="Arrow: Pentagon 531">
              <a:extLst>
                <a:ext uri="{FF2B5EF4-FFF2-40B4-BE49-F238E27FC236}">
                  <a16:creationId xmlns:a16="http://schemas.microsoft.com/office/drawing/2014/main" id="{505999C5-0B00-4EC8-BA2F-1D047FB4EDE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533" name="Straight Connector 532">
              <a:extLst>
                <a:ext uri="{FF2B5EF4-FFF2-40B4-BE49-F238E27FC236}">
                  <a16:creationId xmlns:a16="http://schemas.microsoft.com/office/drawing/2014/main" id="{541B5C8F-70B3-4ECB-A509-99526C598301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4" name="Straight Connector 533">
              <a:extLst>
                <a:ext uri="{FF2B5EF4-FFF2-40B4-BE49-F238E27FC236}">
                  <a16:creationId xmlns:a16="http://schemas.microsoft.com/office/drawing/2014/main" id="{DDDA5102-2E43-44CC-866C-7A524EA9AD65}"/>
                </a:ext>
              </a:extLst>
            </p:cNvPr>
            <p:cNvCxnSpPr>
              <a:cxnSpLocks/>
              <a:endCxn id="57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5" name="Straight Connector 534">
              <a:extLst>
                <a:ext uri="{FF2B5EF4-FFF2-40B4-BE49-F238E27FC236}">
                  <a16:creationId xmlns:a16="http://schemas.microsoft.com/office/drawing/2014/main" id="{3178F730-2D66-4F68-B665-34041B7F1A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6" name="Straight Connector 535">
              <a:extLst>
                <a:ext uri="{FF2B5EF4-FFF2-40B4-BE49-F238E27FC236}">
                  <a16:creationId xmlns:a16="http://schemas.microsoft.com/office/drawing/2014/main" id="{2BE80CA0-3689-49C8-8F31-E21BA13A0CAB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7" name="Straight Connector 536">
              <a:extLst>
                <a:ext uri="{FF2B5EF4-FFF2-40B4-BE49-F238E27FC236}">
                  <a16:creationId xmlns:a16="http://schemas.microsoft.com/office/drawing/2014/main" id="{1622C3B2-CC01-4D57-A9BD-E2A1B313BC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38" name="Oval 537">
              <a:extLst>
                <a:ext uri="{FF2B5EF4-FFF2-40B4-BE49-F238E27FC236}">
                  <a16:creationId xmlns:a16="http://schemas.microsoft.com/office/drawing/2014/main" id="{3FF2093F-8947-4593-899A-D17688D779E4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39" name="Oval 538">
              <a:extLst>
                <a:ext uri="{FF2B5EF4-FFF2-40B4-BE49-F238E27FC236}">
                  <a16:creationId xmlns:a16="http://schemas.microsoft.com/office/drawing/2014/main" id="{9087CB07-B041-4417-8C4D-23F4F08AD7D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40" name="Straight Connector 539">
              <a:extLst>
                <a:ext uri="{FF2B5EF4-FFF2-40B4-BE49-F238E27FC236}">
                  <a16:creationId xmlns:a16="http://schemas.microsoft.com/office/drawing/2014/main" id="{968FB0C7-AC48-4BFB-8A97-F615D2E57D1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1" name="Straight Connector 540">
              <a:extLst>
                <a:ext uri="{FF2B5EF4-FFF2-40B4-BE49-F238E27FC236}">
                  <a16:creationId xmlns:a16="http://schemas.microsoft.com/office/drawing/2014/main" id="{5E3C1FDE-E40F-42AB-8CCE-9DC34097A7ED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2" name="Straight Connector 541">
              <a:extLst>
                <a:ext uri="{FF2B5EF4-FFF2-40B4-BE49-F238E27FC236}">
                  <a16:creationId xmlns:a16="http://schemas.microsoft.com/office/drawing/2014/main" id="{AF328D83-641C-4E16-854A-32CEA7EE0AC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3" name="Straight Connector 542">
              <a:extLst>
                <a:ext uri="{FF2B5EF4-FFF2-40B4-BE49-F238E27FC236}">
                  <a16:creationId xmlns:a16="http://schemas.microsoft.com/office/drawing/2014/main" id="{F983CE3A-7FD2-4ED2-946A-92588173F2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4" name="Straight Connector 543">
              <a:extLst>
                <a:ext uri="{FF2B5EF4-FFF2-40B4-BE49-F238E27FC236}">
                  <a16:creationId xmlns:a16="http://schemas.microsoft.com/office/drawing/2014/main" id="{F8402752-3178-4FC1-AA07-3E720C0E3E0F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5" name="Straight Connector 544">
              <a:extLst>
                <a:ext uri="{FF2B5EF4-FFF2-40B4-BE49-F238E27FC236}">
                  <a16:creationId xmlns:a16="http://schemas.microsoft.com/office/drawing/2014/main" id="{2119F1F6-5D65-4F70-980A-12CC27B04528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6" name="Straight Connector 545">
              <a:extLst>
                <a:ext uri="{FF2B5EF4-FFF2-40B4-BE49-F238E27FC236}">
                  <a16:creationId xmlns:a16="http://schemas.microsoft.com/office/drawing/2014/main" id="{BC868CD7-AD3E-426D-BAF4-EFC92036960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47" name="Group 546">
              <a:extLst>
                <a:ext uri="{FF2B5EF4-FFF2-40B4-BE49-F238E27FC236}">
                  <a16:creationId xmlns:a16="http://schemas.microsoft.com/office/drawing/2014/main" id="{CE92C4D0-BDCE-431D-96D0-0037CCF1FA5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570" name="Oval 569">
                <a:extLst>
                  <a:ext uri="{FF2B5EF4-FFF2-40B4-BE49-F238E27FC236}">
                    <a16:creationId xmlns:a16="http://schemas.microsoft.com/office/drawing/2014/main" id="{2694ACE2-DB37-49BF-9CA2-FE3104C09F1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1" name="Oval 570">
                <a:extLst>
                  <a:ext uri="{FF2B5EF4-FFF2-40B4-BE49-F238E27FC236}">
                    <a16:creationId xmlns:a16="http://schemas.microsoft.com/office/drawing/2014/main" id="{4114612C-D30B-406C-BA48-1C6A1608D8DC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2" name="Oval 571">
                <a:extLst>
                  <a:ext uri="{FF2B5EF4-FFF2-40B4-BE49-F238E27FC236}">
                    <a16:creationId xmlns:a16="http://schemas.microsoft.com/office/drawing/2014/main" id="{ECF8DAD0-DBE1-4D9B-8244-34673961229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3" name="Oval 572">
                <a:extLst>
                  <a:ext uri="{FF2B5EF4-FFF2-40B4-BE49-F238E27FC236}">
                    <a16:creationId xmlns:a16="http://schemas.microsoft.com/office/drawing/2014/main" id="{714CE336-CB16-4332-8FD4-BF129F171013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48" name="Oval 547">
              <a:extLst>
                <a:ext uri="{FF2B5EF4-FFF2-40B4-BE49-F238E27FC236}">
                  <a16:creationId xmlns:a16="http://schemas.microsoft.com/office/drawing/2014/main" id="{2782B6F4-CC43-4A5B-9256-F7A077AB058F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549" name="Straight Connector 548">
              <a:extLst>
                <a:ext uri="{FF2B5EF4-FFF2-40B4-BE49-F238E27FC236}">
                  <a16:creationId xmlns:a16="http://schemas.microsoft.com/office/drawing/2014/main" id="{C6FE0F79-3476-49D8-8B5B-265B99B6C71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50" name="Straight Connector 549">
              <a:extLst>
                <a:ext uri="{FF2B5EF4-FFF2-40B4-BE49-F238E27FC236}">
                  <a16:creationId xmlns:a16="http://schemas.microsoft.com/office/drawing/2014/main" id="{62970595-4549-41F3-82BD-A3A2D8734CB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51" name="Oval 550">
              <a:extLst>
                <a:ext uri="{FF2B5EF4-FFF2-40B4-BE49-F238E27FC236}">
                  <a16:creationId xmlns:a16="http://schemas.microsoft.com/office/drawing/2014/main" id="{6411FDB5-DF7E-4392-8463-950C955CC7B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52" name="Oval 551">
              <a:extLst>
                <a:ext uri="{FF2B5EF4-FFF2-40B4-BE49-F238E27FC236}">
                  <a16:creationId xmlns:a16="http://schemas.microsoft.com/office/drawing/2014/main" id="{9A33171E-AD01-4DE7-B964-66211C1886F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53" name="Straight Connector 552">
              <a:extLst>
                <a:ext uri="{FF2B5EF4-FFF2-40B4-BE49-F238E27FC236}">
                  <a16:creationId xmlns:a16="http://schemas.microsoft.com/office/drawing/2014/main" id="{6C895C77-534A-4D43-86E7-BC1A9A99573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54" name="Straight Connector 553">
              <a:extLst>
                <a:ext uri="{FF2B5EF4-FFF2-40B4-BE49-F238E27FC236}">
                  <a16:creationId xmlns:a16="http://schemas.microsoft.com/office/drawing/2014/main" id="{A8F8DA32-D765-44CE-A93B-385AD675E3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55" name="Group 554">
              <a:extLst>
                <a:ext uri="{FF2B5EF4-FFF2-40B4-BE49-F238E27FC236}">
                  <a16:creationId xmlns:a16="http://schemas.microsoft.com/office/drawing/2014/main" id="{67561FDD-869C-49AA-9A77-BE7BF93164B4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566" name="Oval 565">
                <a:extLst>
                  <a:ext uri="{FF2B5EF4-FFF2-40B4-BE49-F238E27FC236}">
                    <a16:creationId xmlns:a16="http://schemas.microsoft.com/office/drawing/2014/main" id="{5BC4687C-AC0A-4F24-AD4C-24D448B11B14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7" name="Oval 566">
                <a:extLst>
                  <a:ext uri="{FF2B5EF4-FFF2-40B4-BE49-F238E27FC236}">
                    <a16:creationId xmlns:a16="http://schemas.microsoft.com/office/drawing/2014/main" id="{C912DA9B-958C-4AEB-8886-95F98E365CE1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8" name="Oval 567">
                <a:extLst>
                  <a:ext uri="{FF2B5EF4-FFF2-40B4-BE49-F238E27FC236}">
                    <a16:creationId xmlns:a16="http://schemas.microsoft.com/office/drawing/2014/main" id="{D97007F9-A72D-4DAD-A984-D8683B19D1B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9" name="Oval 568">
                <a:extLst>
                  <a:ext uri="{FF2B5EF4-FFF2-40B4-BE49-F238E27FC236}">
                    <a16:creationId xmlns:a16="http://schemas.microsoft.com/office/drawing/2014/main" id="{7564999C-A7F1-4F0B-A4DC-217D1D292FC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56" name="Oval 555">
              <a:extLst>
                <a:ext uri="{FF2B5EF4-FFF2-40B4-BE49-F238E27FC236}">
                  <a16:creationId xmlns:a16="http://schemas.microsoft.com/office/drawing/2014/main" id="{D9FC74DC-27D5-4275-B714-C1127F11F3B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7" name="Oval 556">
              <a:extLst>
                <a:ext uri="{FF2B5EF4-FFF2-40B4-BE49-F238E27FC236}">
                  <a16:creationId xmlns:a16="http://schemas.microsoft.com/office/drawing/2014/main" id="{13C86B6E-F6A6-49E3-B91D-D23B878E81F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8" name="Oval 557">
              <a:extLst>
                <a:ext uri="{FF2B5EF4-FFF2-40B4-BE49-F238E27FC236}">
                  <a16:creationId xmlns:a16="http://schemas.microsoft.com/office/drawing/2014/main" id="{C1E28E94-7B8D-4D36-970E-A98A741D05F8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9" name="Oval 558">
              <a:extLst>
                <a:ext uri="{FF2B5EF4-FFF2-40B4-BE49-F238E27FC236}">
                  <a16:creationId xmlns:a16="http://schemas.microsoft.com/office/drawing/2014/main" id="{5463F0F1-C917-43EB-8B75-2FCC0BA9F81C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0" name="Oval 559">
              <a:extLst>
                <a:ext uri="{FF2B5EF4-FFF2-40B4-BE49-F238E27FC236}">
                  <a16:creationId xmlns:a16="http://schemas.microsoft.com/office/drawing/2014/main" id="{C9CD38FF-01A5-4855-B024-AD3664BC9F3F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1" name="Oval 560">
              <a:extLst>
                <a:ext uri="{FF2B5EF4-FFF2-40B4-BE49-F238E27FC236}">
                  <a16:creationId xmlns:a16="http://schemas.microsoft.com/office/drawing/2014/main" id="{FCC9F4BA-4999-4FDF-8DBE-7BEEA1010158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2" name="Oval 561">
              <a:extLst>
                <a:ext uri="{FF2B5EF4-FFF2-40B4-BE49-F238E27FC236}">
                  <a16:creationId xmlns:a16="http://schemas.microsoft.com/office/drawing/2014/main" id="{A885EE63-AFAC-456B-B0C9-20ADBBCF61E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3" name="Oval 562">
              <a:extLst>
                <a:ext uri="{FF2B5EF4-FFF2-40B4-BE49-F238E27FC236}">
                  <a16:creationId xmlns:a16="http://schemas.microsoft.com/office/drawing/2014/main" id="{DADF4997-9A43-478A-9AB5-5A72B65BBB34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4" name="Oval 563">
              <a:extLst>
                <a:ext uri="{FF2B5EF4-FFF2-40B4-BE49-F238E27FC236}">
                  <a16:creationId xmlns:a16="http://schemas.microsoft.com/office/drawing/2014/main" id="{C80984D8-9844-4A52-BBAB-9F30593AC0EE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5" name="Oval 564">
              <a:extLst>
                <a:ext uri="{FF2B5EF4-FFF2-40B4-BE49-F238E27FC236}">
                  <a16:creationId xmlns:a16="http://schemas.microsoft.com/office/drawing/2014/main" id="{AD99AFCF-02BA-4B89-A427-CAE88E370F9B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994" name="Group 993">
            <a:extLst>
              <a:ext uri="{FF2B5EF4-FFF2-40B4-BE49-F238E27FC236}">
                <a16:creationId xmlns:a16="http://schemas.microsoft.com/office/drawing/2014/main" id="{C750DB56-4FD9-4852-98E2-910793138BBF}"/>
              </a:ext>
            </a:extLst>
          </p:cNvPr>
          <p:cNvGrpSpPr/>
          <p:nvPr/>
        </p:nvGrpSpPr>
        <p:grpSpPr>
          <a:xfrm>
            <a:off x="11028278" y="2135247"/>
            <a:ext cx="2609224" cy="643538"/>
            <a:chOff x="330424" y="3751799"/>
            <a:chExt cx="15193725" cy="3747377"/>
          </a:xfrm>
        </p:grpSpPr>
        <p:sp>
          <p:nvSpPr>
            <p:cNvPr id="995" name="Arrow: Pentagon 994">
              <a:extLst>
                <a:ext uri="{FF2B5EF4-FFF2-40B4-BE49-F238E27FC236}">
                  <a16:creationId xmlns:a16="http://schemas.microsoft.com/office/drawing/2014/main" id="{F0689561-9198-4340-A6C7-E379B73AB7AF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996" name="Straight Connector 995">
              <a:extLst>
                <a:ext uri="{FF2B5EF4-FFF2-40B4-BE49-F238E27FC236}">
                  <a16:creationId xmlns:a16="http://schemas.microsoft.com/office/drawing/2014/main" id="{31EAA6F5-80B6-4B22-B02D-70C90F9EDDD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7" name="Straight Connector 996">
              <a:extLst>
                <a:ext uri="{FF2B5EF4-FFF2-40B4-BE49-F238E27FC236}">
                  <a16:creationId xmlns:a16="http://schemas.microsoft.com/office/drawing/2014/main" id="{891D515E-3D28-4B30-94ED-9E17F0149D76}"/>
                </a:ext>
              </a:extLst>
            </p:cNvPr>
            <p:cNvCxnSpPr>
              <a:cxnSpLocks/>
              <a:endCxn id="1033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8" name="Straight Connector 997">
              <a:extLst>
                <a:ext uri="{FF2B5EF4-FFF2-40B4-BE49-F238E27FC236}">
                  <a16:creationId xmlns:a16="http://schemas.microsoft.com/office/drawing/2014/main" id="{AF96CBA6-5E30-4CAC-A607-96BEB3C613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9" name="Straight Connector 998">
              <a:extLst>
                <a:ext uri="{FF2B5EF4-FFF2-40B4-BE49-F238E27FC236}">
                  <a16:creationId xmlns:a16="http://schemas.microsoft.com/office/drawing/2014/main" id="{14D67CC4-534B-4736-A043-FED6594493CA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0" name="Straight Connector 999">
              <a:extLst>
                <a:ext uri="{FF2B5EF4-FFF2-40B4-BE49-F238E27FC236}">
                  <a16:creationId xmlns:a16="http://schemas.microsoft.com/office/drawing/2014/main" id="{86D666DE-D68B-4243-8D35-F7A4A8DCCEC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01" name="Oval 1000">
              <a:extLst>
                <a:ext uri="{FF2B5EF4-FFF2-40B4-BE49-F238E27FC236}">
                  <a16:creationId xmlns:a16="http://schemas.microsoft.com/office/drawing/2014/main" id="{86D7EBFF-6828-43F1-A0AD-0A0F11ABB785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02" name="Oval 1001">
              <a:extLst>
                <a:ext uri="{FF2B5EF4-FFF2-40B4-BE49-F238E27FC236}">
                  <a16:creationId xmlns:a16="http://schemas.microsoft.com/office/drawing/2014/main" id="{4ABAF847-4BCC-47E7-B45C-BC64C0FECCD0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03" name="Straight Connector 1002">
              <a:extLst>
                <a:ext uri="{FF2B5EF4-FFF2-40B4-BE49-F238E27FC236}">
                  <a16:creationId xmlns:a16="http://schemas.microsoft.com/office/drawing/2014/main" id="{FA23B08E-7547-4647-81FA-308940C202E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4" name="Straight Connector 1003">
              <a:extLst>
                <a:ext uri="{FF2B5EF4-FFF2-40B4-BE49-F238E27FC236}">
                  <a16:creationId xmlns:a16="http://schemas.microsoft.com/office/drawing/2014/main" id="{437EED3F-9FFF-46D3-844E-4BE5C880CB2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5" name="Straight Connector 1004">
              <a:extLst>
                <a:ext uri="{FF2B5EF4-FFF2-40B4-BE49-F238E27FC236}">
                  <a16:creationId xmlns:a16="http://schemas.microsoft.com/office/drawing/2014/main" id="{DBA36279-B4E2-4379-8B10-A1CD292EC8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6" name="Straight Connector 1005">
              <a:extLst>
                <a:ext uri="{FF2B5EF4-FFF2-40B4-BE49-F238E27FC236}">
                  <a16:creationId xmlns:a16="http://schemas.microsoft.com/office/drawing/2014/main" id="{77ABF8FE-D51B-4E22-AA7A-5A2B6FEE0CE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7" name="Straight Connector 1006">
              <a:extLst>
                <a:ext uri="{FF2B5EF4-FFF2-40B4-BE49-F238E27FC236}">
                  <a16:creationId xmlns:a16="http://schemas.microsoft.com/office/drawing/2014/main" id="{E40637E0-8596-4078-9AA2-414EFE81B200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8" name="Straight Connector 1007">
              <a:extLst>
                <a:ext uri="{FF2B5EF4-FFF2-40B4-BE49-F238E27FC236}">
                  <a16:creationId xmlns:a16="http://schemas.microsoft.com/office/drawing/2014/main" id="{4A4B4CDF-9508-4607-9D44-BC5EDBEEC0D1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9" name="Straight Connector 1008">
              <a:extLst>
                <a:ext uri="{FF2B5EF4-FFF2-40B4-BE49-F238E27FC236}">
                  <a16:creationId xmlns:a16="http://schemas.microsoft.com/office/drawing/2014/main" id="{A68BCF02-D8E3-46E4-B94B-5C385009DF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10" name="Group 1009">
              <a:extLst>
                <a:ext uri="{FF2B5EF4-FFF2-40B4-BE49-F238E27FC236}">
                  <a16:creationId xmlns:a16="http://schemas.microsoft.com/office/drawing/2014/main" id="{04A3AD77-8B85-49A6-8781-35389538E477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033" name="Oval 1032">
                <a:extLst>
                  <a:ext uri="{FF2B5EF4-FFF2-40B4-BE49-F238E27FC236}">
                    <a16:creationId xmlns:a16="http://schemas.microsoft.com/office/drawing/2014/main" id="{F178FFBA-E0E4-4EF5-9561-A1883BE85BE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4" name="Oval 1033">
                <a:extLst>
                  <a:ext uri="{FF2B5EF4-FFF2-40B4-BE49-F238E27FC236}">
                    <a16:creationId xmlns:a16="http://schemas.microsoft.com/office/drawing/2014/main" id="{33D9D8A4-B9AE-46B3-AA94-1573DD839873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5" name="Oval 1034">
                <a:extLst>
                  <a:ext uri="{FF2B5EF4-FFF2-40B4-BE49-F238E27FC236}">
                    <a16:creationId xmlns:a16="http://schemas.microsoft.com/office/drawing/2014/main" id="{B29B0A91-4AAC-439E-BD77-36D21B77B594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6" name="Oval 1035">
                <a:extLst>
                  <a:ext uri="{FF2B5EF4-FFF2-40B4-BE49-F238E27FC236}">
                    <a16:creationId xmlns:a16="http://schemas.microsoft.com/office/drawing/2014/main" id="{7E22C534-A9B8-4CF8-8F44-CD21617F175E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11" name="Oval 1010">
              <a:extLst>
                <a:ext uri="{FF2B5EF4-FFF2-40B4-BE49-F238E27FC236}">
                  <a16:creationId xmlns:a16="http://schemas.microsoft.com/office/drawing/2014/main" id="{576CC208-3DCD-4D33-9621-D42569D7C2A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12" name="Straight Connector 1011">
              <a:extLst>
                <a:ext uri="{FF2B5EF4-FFF2-40B4-BE49-F238E27FC236}">
                  <a16:creationId xmlns:a16="http://schemas.microsoft.com/office/drawing/2014/main" id="{858EB849-9BE6-4A81-BDEE-ABCE0728C0E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3" name="Straight Connector 1012">
              <a:extLst>
                <a:ext uri="{FF2B5EF4-FFF2-40B4-BE49-F238E27FC236}">
                  <a16:creationId xmlns:a16="http://schemas.microsoft.com/office/drawing/2014/main" id="{65309665-D295-4965-8EF5-3FA8B6C62BB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14" name="Oval 1013">
              <a:extLst>
                <a:ext uri="{FF2B5EF4-FFF2-40B4-BE49-F238E27FC236}">
                  <a16:creationId xmlns:a16="http://schemas.microsoft.com/office/drawing/2014/main" id="{3DBF54A8-85FE-483B-B8ED-12F06E6547A8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15" name="Oval 1014">
              <a:extLst>
                <a:ext uri="{FF2B5EF4-FFF2-40B4-BE49-F238E27FC236}">
                  <a16:creationId xmlns:a16="http://schemas.microsoft.com/office/drawing/2014/main" id="{2570AA91-4EDA-4D26-936E-63EBF42BD7DE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16" name="Straight Connector 1015">
              <a:extLst>
                <a:ext uri="{FF2B5EF4-FFF2-40B4-BE49-F238E27FC236}">
                  <a16:creationId xmlns:a16="http://schemas.microsoft.com/office/drawing/2014/main" id="{7DF382DC-2E47-4049-B384-8B370D2C076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7" name="Straight Connector 1016">
              <a:extLst>
                <a:ext uri="{FF2B5EF4-FFF2-40B4-BE49-F238E27FC236}">
                  <a16:creationId xmlns:a16="http://schemas.microsoft.com/office/drawing/2014/main" id="{42D40597-A25F-4B1E-97D2-D341B51093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18" name="Group 1017">
              <a:extLst>
                <a:ext uri="{FF2B5EF4-FFF2-40B4-BE49-F238E27FC236}">
                  <a16:creationId xmlns:a16="http://schemas.microsoft.com/office/drawing/2014/main" id="{06BA71D6-0D99-4A99-8984-D1493224C3D8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029" name="Oval 1028">
                <a:extLst>
                  <a:ext uri="{FF2B5EF4-FFF2-40B4-BE49-F238E27FC236}">
                    <a16:creationId xmlns:a16="http://schemas.microsoft.com/office/drawing/2014/main" id="{FF1F03A7-D677-40D0-9D5B-478E3800201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0" name="Oval 1029">
                <a:extLst>
                  <a:ext uri="{FF2B5EF4-FFF2-40B4-BE49-F238E27FC236}">
                    <a16:creationId xmlns:a16="http://schemas.microsoft.com/office/drawing/2014/main" id="{4D297520-FCA7-4C41-A16F-8766B4A74ADC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1" name="Oval 1030">
                <a:extLst>
                  <a:ext uri="{FF2B5EF4-FFF2-40B4-BE49-F238E27FC236}">
                    <a16:creationId xmlns:a16="http://schemas.microsoft.com/office/drawing/2014/main" id="{684016FC-1DC4-4372-923D-36050813F35C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2" name="Oval 1031">
                <a:extLst>
                  <a:ext uri="{FF2B5EF4-FFF2-40B4-BE49-F238E27FC236}">
                    <a16:creationId xmlns:a16="http://schemas.microsoft.com/office/drawing/2014/main" id="{BCC291D0-6DA3-4D5A-ADDA-2EC531D3D39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19" name="Oval 1018">
              <a:extLst>
                <a:ext uri="{FF2B5EF4-FFF2-40B4-BE49-F238E27FC236}">
                  <a16:creationId xmlns:a16="http://schemas.microsoft.com/office/drawing/2014/main" id="{A939377C-9FD4-47F9-90A5-5122D86B1EB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0" name="Oval 1019">
              <a:extLst>
                <a:ext uri="{FF2B5EF4-FFF2-40B4-BE49-F238E27FC236}">
                  <a16:creationId xmlns:a16="http://schemas.microsoft.com/office/drawing/2014/main" id="{32504989-34AA-4DC1-92AC-86210D15CBA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1" name="Oval 1020">
              <a:extLst>
                <a:ext uri="{FF2B5EF4-FFF2-40B4-BE49-F238E27FC236}">
                  <a16:creationId xmlns:a16="http://schemas.microsoft.com/office/drawing/2014/main" id="{C6B9F133-88BD-4D8C-9415-E51193B3AA0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2" name="Oval 1021">
              <a:extLst>
                <a:ext uri="{FF2B5EF4-FFF2-40B4-BE49-F238E27FC236}">
                  <a16:creationId xmlns:a16="http://schemas.microsoft.com/office/drawing/2014/main" id="{73B828A6-F990-4A18-BC2D-5327D98580A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3" name="Oval 1022">
              <a:extLst>
                <a:ext uri="{FF2B5EF4-FFF2-40B4-BE49-F238E27FC236}">
                  <a16:creationId xmlns:a16="http://schemas.microsoft.com/office/drawing/2014/main" id="{C6391F50-0861-4716-8074-697D55F12270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4" name="Oval 1023">
              <a:extLst>
                <a:ext uri="{FF2B5EF4-FFF2-40B4-BE49-F238E27FC236}">
                  <a16:creationId xmlns:a16="http://schemas.microsoft.com/office/drawing/2014/main" id="{FB335865-085F-4EC3-92A0-7183127EE1E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5" name="Oval 1024">
              <a:extLst>
                <a:ext uri="{FF2B5EF4-FFF2-40B4-BE49-F238E27FC236}">
                  <a16:creationId xmlns:a16="http://schemas.microsoft.com/office/drawing/2014/main" id="{85DEDE97-C266-44C0-81B6-841BD0392799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6" name="Oval 1025">
              <a:extLst>
                <a:ext uri="{FF2B5EF4-FFF2-40B4-BE49-F238E27FC236}">
                  <a16:creationId xmlns:a16="http://schemas.microsoft.com/office/drawing/2014/main" id="{14A31B08-BC31-4950-BDE0-0B729FD60A0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7" name="Oval 1026">
              <a:extLst>
                <a:ext uri="{FF2B5EF4-FFF2-40B4-BE49-F238E27FC236}">
                  <a16:creationId xmlns:a16="http://schemas.microsoft.com/office/drawing/2014/main" id="{C8C06565-E359-41D8-A95B-C997A525B62A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8" name="Oval 1027">
              <a:extLst>
                <a:ext uri="{FF2B5EF4-FFF2-40B4-BE49-F238E27FC236}">
                  <a16:creationId xmlns:a16="http://schemas.microsoft.com/office/drawing/2014/main" id="{3418E4F1-F294-433E-AE19-541C55C1AFB0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A4F97684-E800-4621-8ECB-79513BC37FBE}"/>
              </a:ext>
            </a:extLst>
          </p:cNvPr>
          <p:cNvGrpSpPr/>
          <p:nvPr/>
        </p:nvGrpSpPr>
        <p:grpSpPr>
          <a:xfrm>
            <a:off x="534986" y="6355596"/>
            <a:ext cx="2609224" cy="643538"/>
            <a:chOff x="330424" y="3751799"/>
            <a:chExt cx="15193725" cy="3747377"/>
          </a:xfrm>
        </p:grpSpPr>
        <p:sp>
          <p:nvSpPr>
            <p:cNvPr id="1038" name="Arrow: Pentagon 1037">
              <a:extLst>
                <a:ext uri="{FF2B5EF4-FFF2-40B4-BE49-F238E27FC236}">
                  <a16:creationId xmlns:a16="http://schemas.microsoft.com/office/drawing/2014/main" id="{68CE24EE-29BB-43E2-B5CA-A0B8C57F86AB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039" name="Straight Connector 1038">
              <a:extLst>
                <a:ext uri="{FF2B5EF4-FFF2-40B4-BE49-F238E27FC236}">
                  <a16:creationId xmlns:a16="http://schemas.microsoft.com/office/drawing/2014/main" id="{4555FE43-BE3E-43E0-A506-11AF33512647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0" name="Straight Connector 1039">
              <a:extLst>
                <a:ext uri="{FF2B5EF4-FFF2-40B4-BE49-F238E27FC236}">
                  <a16:creationId xmlns:a16="http://schemas.microsoft.com/office/drawing/2014/main" id="{8C0C5F1E-9BEB-4152-A9EC-67BFCBB7761D}"/>
                </a:ext>
              </a:extLst>
            </p:cNvPr>
            <p:cNvCxnSpPr>
              <a:cxnSpLocks/>
              <a:endCxn id="107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1" name="Straight Connector 1040">
              <a:extLst>
                <a:ext uri="{FF2B5EF4-FFF2-40B4-BE49-F238E27FC236}">
                  <a16:creationId xmlns:a16="http://schemas.microsoft.com/office/drawing/2014/main" id="{7AA48440-E1D4-4A1A-A428-4FFCC30E13E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2" name="Straight Connector 1041">
              <a:extLst>
                <a:ext uri="{FF2B5EF4-FFF2-40B4-BE49-F238E27FC236}">
                  <a16:creationId xmlns:a16="http://schemas.microsoft.com/office/drawing/2014/main" id="{5C24E747-970A-41DE-88C5-07E291F84BB5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3" name="Straight Connector 1042">
              <a:extLst>
                <a:ext uri="{FF2B5EF4-FFF2-40B4-BE49-F238E27FC236}">
                  <a16:creationId xmlns:a16="http://schemas.microsoft.com/office/drawing/2014/main" id="{0F10DE23-44A0-4E1B-B182-D062E1EE3F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44" name="Oval 1043">
              <a:extLst>
                <a:ext uri="{FF2B5EF4-FFF2-40B4-BE49-F238E27FC236}">
                  <a16:creationId xmlns:a16="http://schemas.microsoft.com/office/drawing/2014/main" id="{1E7104EE-149D-42AF-B55A-10E5A895254C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45" name="Oval 1044">
              <a:extLst>
                <a:ext uri="{FF2B5EF4-FFF2-40B4-BE49-F238E27FC236}">
                  <a16:creationId xmlns:a16="http://schemas.microsoft.com/office/drawing/2014/main" id="{7CE5AC40-E9B5-40E4-8F16-48FBE5924CAD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46" name="Straight Connector 1045">
              <a:extLst>
                <a:ext uri="{FF2B5EF4-FFF2-40B4-BE49-F238E27FC236}">
                  <a16:creationId xmlns:a16="http://schemas.microsoft.com/office/drawing/2014/main" id="{A31933E5-C5A4-49E5-864D-8EED6C18A46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7" name="Straight Connector 1046">
              <a:extLst>
                <a:ext uri="{FF2B5EF4-FFF2-40B4-BE49-F238E27FC236}">
                  <a16:creationId xmlns:a16="http://schemas.microsoft.com/office/drawing/2014/main" id="{529E9993-F2F6-427F-B212-24585AEB2940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8" name="Straight Connector 1047">
              <a:extLst>
                <a:ext uri="{FF2B5EF4-FFF2-40B4-BE49-F238E27FC236}">
                  <a16:creationId xmlns:a16="http://schemas.microsoft.com/office/drawing/2014/main" id="{7F6D6A2D-06DF-4B23-9264-84ADD2B5F0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9" name="Straight Connector 1048">
              <a:extLst>
                <a:ext uri="{FF2B5EF4-FFF2-40B4-BE49-F238E27FC236}">
                  <a16:creationId xmlns:a16="http://schemas.microsoft.com/office/drawing/2014/main" id="{62A02F9C-4C29-46DD-A313-10F19D2D71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0" name="Straight Connector 1049">
              <a:extLst>
                <a:ext uri="{FF2B5EF4-FFF2-40B4-BE49-F238E27FC236}">
                  <a16:creationId xmlns:a16="http://schemas.microsoft.com/office/drawing/2014/main" id="{D228F142-A702-4140-BF16-B131491A1B16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1" name="Straight Connector 1050">
              <a:extLst>
                <a:ext uri="{FF2B5EF4-FFF2-40B4-BE49-F238E27FC236}">
                  <a16:creationId xmlns:a16="http://schemas.microsoft.com/office/drawing/2014/main" id="{485912D0-6A79-4916-B795-DAC4724B3891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2" name="Straight Connector 1051">
              <a:extLst>
                <a:ext uri="{FF2B5EF4-FFF2-40B4-BE49-F238E27FC236}">
                  <a16:creationId xmlns:a16="http://schemas.microsoft.com/office/drawing/2014/main" id="{B0EE7D77-D636-431A-B219-F36F4D0FC2A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53" name="Group 1052">
              <a:extLst>
                <a:ext uri="{FF2B5EF4-FFF2-40B4-BE49-F238E27FC236}">
                  <a16:creationId xmlns:a16="http://schemas.microsoft.com/office/drawing/2014/main" id="{198F16D1-A7FA-462A-9403-01A6A763C99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076" name="Oval 1075">
                <a:extLst>
                  <a:ext uri="{FF2B5EF4-FFF2-40B4-BE49-F238E27FC236}">
                    <a16:creationId xmlns:a16="http://schemas.microsoft.com/office/drawing/2014/main" id="{03203DAF-1446-4CE6-A0E3-519339BB6E3C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7" name="Oval 1076">
                <a:extLst>
                  <a:ext uri="{FF2B5EF4-FFF2-40B4-BE49-F238E27FC236}">
                    <a16:creationId xmlns:a16="http://schemas.microsoft.com/office/drawing/2014/main" id="{92C31502-D7C1-4FC4-A9A5-E5438960CCF5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8" name="Oval 1077">
                <a:extLst>
                  <a:ext uri="{FF2B5EF4-FFF2-40B4-BE49-F238E27FC236}">
                    <a16:creationId xmlns:a16="http://schemas.microsoft.com/office/drawing/2014/main" id="{60FBA64F-22E9-4124-928E-0479B368288E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9" name="Oval 1078">
                <a:extLst>
                  <a:ext uri="{FF2B5EF4-FFF2-40B4-BE49-F238E27FC236}">
                    <a16:creationId xmlns:a16="http://schemas.microsoft.com/office/drawing/2014/main" id="{A3E028BB-ED01-4A63-8D42-9A5BFAE804B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54" name="Oval 1053">
              <a:extLst>
                <a:ext uri="{FF2B5EF4-FFF2-40B4-BE49-F238E27FC236}">
                  <a16:creationId xmlns:a16="http://schemas.microsoft.com/office/drawing/2014/main" id="{498B6378-1CE0-4BC7-8C0F-385D71595342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55" name="Straight Connector 1054">
              <a:extLst>
                <a:ext uri="{FF2B5EF4-FFF2-40B4-BE49-F238E27FC236}">
                  <a16:creationId xmlns:a16="http://schemas.microsoft.com/office/drawing/2014/main" id="{0971A626-8942-405A-9598-F84B17537FD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6" name="Straight Connector 1055">
              <a:extLst>
                <a:ext uri="{FF2B5EF4-FFF2-40B4-BE49-F238E27FC236}">
                  <a16:creationId xmlns:a16="http://schemas.microsoft.com/office/drawing/2014/main" id="{D3102804-52F5-4E74-9821-83A14FDE9B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57" name="Oval 1056">
              <a:extLst>
                <a:ext uri="{FF2B5EF4-FFF2-40B4-BE49-F238E27FC236}">
                  <a16:creationId xmlns:a16="http://schemas.microsoft.com/office/drawing/2014/main" id="{AB273E9A-2044-4DA3-B540-85B727524A4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58" name="Oval 1057">
              <a:extLst>
                <a:ext uri="{FF2B5EF4-FFF2-40B4-BE49-F238E27FC236}">
                  <a16:creationId xmlns:a16="http://schemas.microsoft.com/office/drawing/2014/main" id="{15D9076A-23B9-4DA5-9749-738589467CA6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59" name="Straight Connector 1058">
              <a:extLst>
                <a:ext uri="{FF2B5EF4-FFF2-40B4-BE49-F238E27FC236}">
                  <a16:creationId xmlns:a16="http://schemas.microsoft.com/office/drawing/2014/main" id="{0F294B17-8B69-4DE8-8443-E9DE4301657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60" name="Straight Connector 1059">
              <a:extLst>
                <a:ext uri="{FF2B5EF4-FFF2-40B4-BE49-F238E27FC236}">
                  <a16:creationId xmlns:a16="http://schemas.microsoft.com/office/drawing/2014/main" id="{B6803F81-FEE3-40B9-8021-BA4454C5C9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61" name="Group 1060">
              <a:extLst>
                <a:ext uri="{FF2B5EF4-FFF2-40B4-BE49-F238E27FC236}">
                  <a16:creationId xmlns:a16="http://schemas.microsoft.com/office/drawing/2014/main" id="{E7679D80-E8A7-43CB-82F5-ACDE8F4B7AA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072" name="Oval 1071">
                <a:extLst>
                  <a:ext uri="{FF2B5EF4-FFF2-40B4-BE49-F238E27FC236}">
                    <a16:creationId xmlns:a16="http://schemas.microsoft.com/office/drawing/2014/main" id="{7BE89B88-BF88-416B-B472-DDF863A3C39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3" name="Oval 1072">
                <a:extLst>
                  <a:ext uri="{FF2B5EF4-FFF2-40B4-BE49-F238E27FC236}">
                    <a16:creationId xmlns:a16="http://schemas.microsoft.com/office/drawing/2014/main" id="{AE99BA46-9866-4F5F-8795-2C50CF509F2C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4" name="Oval 1073">
                <a:extLst>
                  <a:ext uri="{FF2B5EF4-FFF2-40B4-BE49-F238E27FC236}">
                    <a16:creationId xmlns:a16="http://schemas.microsoft.com/office/drawing/2014/main" id="{1D65918B-BC0D-42D8-9FC0-6E40A07C54F8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5" name="Oval 1074">
                <a:extLst>
                  <a:ext uri="{FF2B5EF4-FFF2-40B4-BE49-F238E27FC236}">
                    <a16:creationId xmlns:a16="http://schemas.microsoft.com/office/drawing/2014/main" id="{64693E27-AC75-43CE-9767-31D2265E93C0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62" name="Oval 1061">
              <a:extLst>
                <a:ext uri="{FF2B5EF4-FFF2-40B4-BE49-F238E27FC236}">
                  <a16:creationId xmlns:a16="http://schemas.microsoft.com/office/drawing/2014/main" id="{7D854E29-DE5B-4D23-A7F4-089805F4B407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3" name="Oval 1062">
              <a:extLst>
                <a:ext uri="{FF2B5EF4-FFF2-40B4-BE49-F238E27FC236}">
                  <a16:creationId xmlns:a16="http://schemas.microsoft.com/office/drawing/2014/main" id="{19C12530-ADAE-42F3-BF96-6E2F797FFA21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4" name="Oval 1063">
              <a:extLst>
                <a:ext uri="{FF2B5EF4-FFF2-40B4-BE49-F238E27FC236}">
                  <a16:creationId xmlns:a16="http://schemas.microsoft.com/office/drawing/2014/main" id="{AD7F837C-BDAC-4356-ACFD-D5435ED1C8BC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5" name="Oval 1064">
              <a:extLst>
                <a:ext uri="{FF2B5EF4-FFF2-40B4-BE49-F238E27FC236}">
                  <a16:creationId xmlns:a16="http://schemas.microsoft.com/office/drawing/2014/main" id="{199E57B7-A7E3-41F8-BB3C-E75DC038F11C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6" name="Oval 1065">
              <a:extLst>
                <a:ext uri="{FF2B5EF4-FFF2-40B4-BE49-F238E27FC236}">
                  <a16:creationId xmlns:a16="http://schemas.microsoft.com/office/drawing/2014/main" id="{C0C115DF-6D28-4603-903A-065A4F27245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7" name="Oval 1066">
              <a:extLst>
                <a:ext uri="{FF2B5EF4-FFF2-40B4-BE49-F238E27FC236}">
                  <a16:creationId xmlns:a16="http://schemas.microsoft.com/office/drawing/2014/main" id="{A2A8E2DC-8965-4DB3-B9E3-3CB8F09EA653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8" name="Oval 1067">
              <a:extLst>
                <a:ext uri="{FF2B5EF4-FFF2-40B4-BE49-F238E27FC236}">
                  <a16:creationId xmlns:a16="http://schemas.microsoft.com/office/drawing/2014/main" id="{1F91E05F-AEEA-4931-A23F-17FF2141927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9" name="Oval 1068">
              <a:extLst>
                <a:ext uri="{FF2B5EF4-FFF2-40B4-BE49-F238E27FC236}">
                  <a16:creationId xmlns:a16="http://schemas.microsoft.com/office/drawing/2014/main" id="{F7905202-7472-4C01-A9F2-01AF9049F6C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70" name="Oval 1069">
              <a:extLst>
                <a:ext uri="{FF2B5EF4-FFF2-40B4-BE49-F238E27FC236}">
                  <a16:creationId xmlns:a16="http://schemas.microsoft.com/office/drawing/2014/main" id="{2C65D2E9-12CD-4C44-B667-48D56BA4A2F3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71" name="Oval 1070">
              <a:extLst>
                <a:ext uri="{FF2B5EF4-FFF2-40B4-BE49-F238E27FC236}">
                  <a16:creationId xmlns:a16="http://schemas.microsoft.com/office/drawing/2014/main" id="{27EC1BE1-5AFB-421A-A333-18202096FE8F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295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0" name="Picture 829">
            <a:extLst>
              <a:ext uri="{FF2B5EF4-FFF2-40B4-BE49-F238E27FC236}">
                <a16:creationId xmlns:a16="http://schemas.microsoft.com/office/drawing/2014/main" id="{0852FBD9-D095-4BFD-A70E-7E47B693491E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151779" y="1203707"/>
            <a:ext cx="14326842" cy="582218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892E5E1-065C-405B-AB81-619916C4342C}"/>
              </a:ext>
            </a:extLst>
          </p:cNvPr>
          <p:cNvCxnSpPr/>
          <p:nvPr/>
        </p:nvCxnSpPr>
        <p:spPr>
          <a:xfrm flipV="1">
            <a:off x="1432806" y="1521473"/>
            <a:ext cx="3589083" cy="30155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5" name="Straight Connector 924">
            <a:extLst>
              <a:ext uri="{FF2B5EF4-FFF2-40B4-BE49-F238E27FC236}">
                <a16:creationId xmlns:a16="http://schemas.microsoft.com/office/drawing/2014/main" id="{06C7FF9B-FBCF-40BB-86F1-FEB09435D92C}"/>
              </a:ext>
            </a:extLst>
          </p:cNvPr>
          <p:cNvCxnSpPr>
            <a:cxnSpLocks/>
          </p:cNvCxnSpPr>
          <p:nvPr/>
        </p:nvCxnSpPr>
        <p:spPr>
          <a:xfrm flipH="1" flipV="1">
            <a:off x="5021889" y="1532177"/>
            <a:ext cx="1203256" cy="10762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6" name="Straight Connector 925">
            <a:extLst>
              <a:ext uri="{FF2B5EF4-FFF2-40B4-BE49-F238E27FC236}">
                <a16:creationId xmlns:a16="http://schemas.microsoft.com/office/drawing/2014/main" id="{4B03E3B9-F77D-4B12-95EF-35B151F65185}"/>
              </a:ext>
            </a:extLst>
          </p:cNvPr>
          <p:cNvCxnSpPr>
            <a:cxnSpLocks/>
          </p:cNvCxnSpPr>
          <p:nvPr/>
        </p:nvCxnSpPr>
        <p:spPr>
          <a:xfrm flipH="1" flipV="1">
            <a:off x="5021890" y="1542881"/>
            <a:ext cx="4043002" cy="12937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7" name="Straight Connector 926">
            <a:extLst>
              <a:ext uri="{FF2B5EF4-FFF2-40B4-BE49-F238E27FC236}">
                <a16:creationId xmlns:a16="http://schemas.microsoft.com/office/drawing/2014/main" id="{80D95616-1A18-45E1-B3D9-1CC94FB58DEC}"/>
              </a:ext>
            </a:extLst>
          </p:cNvPr>
          <p:cNvCxnSpPr>
            <a:cxnSpLocks/>
          </p:cNvCxnSpPr>
          <p:nvPr/>
        </p:nvCxnSpPr>
        <p:spPr>
          <a:xfrm flipH="1" flipV="1">
            <a:off x="5021892" y="1553587"/>
            <a:ext cx="3965909" cy="153760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9" name="Straight Connector 928">
            <a:extLst>
              <a:ext uri="{FF2B5EF4-FFF2-40B4-BE49-F238E27FC236}">
                <a16:creationId xmlns:a16="http://schemas.microsoft.com/office/drawing/2014/main" id="{38034D17-D12F-4FBF-B976-888FF972483D}"/>
              </a:ext>
            </a:extLst>
          </p:cNvPr>
          <p:cNvCxnSpPr>
            <a:cxnSpLocks/>
          </p:cNvCxnSpPr>
          <p:nvPr/>
        </p:nvCxnSpPr>
        <p:spPr>
          <a:xfrm flipV="1">
            <a:off x="1638023" y="2635620"/>
            <a:ext cx="804891" cy="113244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0" name="Straight Connector 929">
            <a:extLst>
              <a:ext uri="{FF2B5EF4-FFF2-40B4-BE49-F238E27FC236}">
                <a16:creationId xmlns:a16="http://schemas.microsoft.com/office/drawing/2014/main" id="{C0D8C8EE-3DB2-44BA-B24A-F0AE40A89A99}"/>
              </a:ext>
            </a:extLst>
          </p:cNvPr>
          <p:cNvCxnSpPr>
            <a:cxnSpLocks/>
          </p:cNvCxnSpPr>
          <p:nvPr/>
        </p:nvCxnSpPr>
        <p:spPr>
          <a:xfrm flipH="1" flipV="1">
            <a:off x="1432806" y="1848932"/>
            <a:ext cx="205217" cy="1919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1" name="Straight Connector 930">
            <a:extLst>
              <a:ext uri="{FF2B5EF4-FFF2-40B4-BE49-F238E27FC236}">
                <a16:creationId xmlns:a16="http://schemas.microsoft.com/office/drawing/2014/main" id="{C753AD42-4D3D-4F9C-9F6C-FB768E5FDF00}"/>
              </a:ext>
            </a:extLst>
          </p:cNvPr>
          <p:cNvCxnSpPr>
            <a:cxnSpLocks/>
          </p:cNvCxnSpPr>
          <p:nvPr/>
        </p:nvCxnSpPr>
        <p:spPr>
          <a:xfrm flipV="1">
            <a:off x="2340306" y="2608439"/>
            <a:ext cx="96804" cy="23952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2" name="Straight Connector 931">
            <a:extLst>
              <a:ext uri="{FF2B5EF4-FFF2-40B4-BE49-F238E27FC236}">
                <a16:creationId xmlns:a16="http://schemas.microsoft.com/office/drawing/2014/main" id="{46818D1A-279B-40B3-B7C8-FD01D88447F3}"/>
              </a:ext>
            </a:extLst>
          </p:cNvPr>
          <p:cNvCxnSpPr>
            <a:cxnSpLocks/>
          </p:cNvCxnSpPr>
          <p:nvPr/>
        </p:nvCxnSpPr>
        <p:spPr>
          <a:xfrm flipV="1">
            <a:off x="2343163" y="2576245"/>
            <a:ext cx="3881982" cy="24274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3" name="Straight Connector 932">
            <a:extLst>
              <a:ext uri="{FF2B5EF4-FFF2-40B4-BE49-F238E27FC236}">
                <a16:creationId xmlns:a16="http://schemas.microsoft.com/office/drawing/2014/main" id="{A63DB94D-E763-4069-A1AD-9B0D137D1B2E}"/>
              </a:ext>
            </a:extLst>
          </p:cNvPr>
          <p:cNvCxnSpPr>
            <a:cxnSpLocks/>
          </p:cNvCxnSpPr>
          <p:nvPr/>
        </p:nvCxnSpPr>
        <p:spPr>
          <a:xfrm flipV="1">
            <a:off x="5759660" y="2584193"/>
            <a:ext cx="486731" cy="107901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4" name="Straight Connector 933">
            <a:extLst>
              <a:ext uri="{FF2B5EF4-FFF2-40B4-BE49-F238E27FC236}">
                <a16:creationId xmlns:a16="http://schemas.microsoft.com/office/drawing/2014/main" id="{08ED328A-703A-4624-9DE5-70A8B231D34A}"/>
              </a:ext>
            </a:extLst>
          </p:cNvPr>
          <p:cNvCxnSpPr>
            <a:cxnSpLocks/>
          </p:cNvCxnSpPr>
          <p:nvPr/>
        </p:nvCxnSpPr>
        <p:spPr>
          <a:xfrm flipH="1" flipV="1">
            <a:off x="8987801" y="3123702"/>
            <a:ext cx="19551" cy="154578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5" name="Straight Connector 934">
            <a:extLst>
              <a:ext uri="{FF2B5EF4-FFF2-40B4-BE49-F238E27FC236}">
                <a16:creationId xmlns:a16="http://schemas.microsoft.com/office/drawing/2014/main" id="{CF8BE14B-CBAC-4A36-8133-B04567C15969}"/>
              </a:ext>
            </a:extLst>
          </p:cNvPr>
          <p:cNvCxnSpPr>
            <a:cxnSpLocks/>
          </p:cNvCxnSpPr>
          <p:nvPr/>
        </p:nvCxnSpPr>
        <p:spPr>
          <a:xfrm flipH="1" flipV="1">
            <a:off x="9085312" y="1672253"/>
            <a:ext cx="3348424" cy="79498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6" name="Straight Connector 935">
            <a:extLst>
              <a:ext uri="{FF2B5EF4-FFF2-40B4-BE49-F238E27FC236}">
                <a16:creationId xmlns:a16="http://schemas.microsoft.com/office/drawing/2014/main" id="{5410D87B-A85E-4542-BB77-7F6CABC6B864}"/>
              </a:ext>
            </a:extLst>
          </p:cNvPr>
          <p:cNvCxnSpPr>
            <a:cxnSpLocks/>
          </p:cNvCxnSpPr>
          <p:nvPr/>
        </p:nvCxnSpPr>
        <p:spPr>
          <a:xfrm flipH="1" flipV="1">
            <a:off x="9093662" y="1739742"/>
            <a:ext cx="3178367" cy="2117326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7" name="Straight Connector 936">
            <a:extLst>
              <a:ext uri="{FF2B5EF4-FFF2-40B4-BE49-F238E27FC236}">
                <a16:creationId xmlns:a16="http://schemas.microsoft.com/office/drawing/2014/main" id="{5F027C82-1250-49CB-8DCF-39091FC84859}"/>
              </a:ext>
            </a:extLst>
          </p:cNvPr>
          <p:cNvCxnSpPr>
            <a:cxnSpLocks/>
          </p:cNvCxnSpPr>
          <p:nvPr/>
        </p:nvCxnSpPr>
        <p:spPr>
          <a:xfrm flipH="1" flipV="1">
            <a:off x="12243259" y="3768060"/>
            <a:ext cx="859144" cy="126159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8" name="Straight Connector 937">
            <a:extLst>
              <a:ext uri="{FF2B5EF4-FFF2-40B4-BE49-F238E27FC236}">
                <a16:creationId xmlns:a16="http://schemas.microsoft.com/office/drawing/2014/main" id="{574B0C95-054A-4FDE-A42A-3AD889ABAE92}"/>
              </a:ext>
            </a:extLst>
          </p:cNvPr>
          <p:cNvCxnSpPr>
            <a:cxnSpLocks/>
          </p:cNvCxnSpPr>
          <p:nvPr/>
        </p:nvCxnSpPr>
        <p:spPr>
          <a:xfrm flipH="1" flipV="1">
            <a:off x="12417636" y="2467242"/>
            <a:ext cx="700432" cy="256020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9" name="Straight Connector 938">
            <a:extLst>
              <a:ext uri="{FF2B5EF4-FFF2-40B4-BE49-F238E27FC236}">
                <a16:creationId xmlns:a16="http://schemas.microsoft.com/office/drawing/2014/main" id="{A3F3DD7C-5FC8-4743-AB6A-3F0C9F562D18}"/>
              </a:ext>
            </a:extLst>
          </p:cNvPr>
          <p:cNvCxnSpPr>
            <a:cxnSpLocks/>
          </p:cNvCxnSpPr>
          <p:nvPr/>
        </p:nvCxnSpPr>
        <p:spPr>
          <a:xfrm flipV="1">
            <a:off x="12261295" y="2467241"/>
            <a:ext cx="135920" cy="128010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0" name="Straight Connector 939">
            <a:extLst>
              <a:ext uri="{FF2B5EF4-FFF2-40B4-BE49-F238E27FC236}">
                <a16:creationId xmlns:a16="http://schemas.microsoft.com/office/drawing/2014/main" id="{6E456EC7-52BD-48A6-B3AE-F081D8DA877B}"/>
              </a:ext>
            </a:extLst>
          </p:cNvPr>
          <p:cNvCxnSpPr>
            <a:cxnSpLocks/>
          </p:cNvCxnSpPr>
          <p:nvPr/>
        </p:nvCxnSpPr>
        <p:spPr>
          <a:xfrm flipV="1">
            <a:off x="9995972" y="3789960"/>
            <a:ext cx="2242608" cy="1731985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1" name="Straight Connector 940">
            <a:extLst>
              <a:ext uri="{FF2B5EF4-FFF2-40B4-BE49-F238E27FC236}">
                <a16:creationId xmlns:a16="http://schemas.microsoft.com/office/drawing/2014/main" id="{1AB9F253-44B0-4698-99D6-ABF1D955A22C}"/>
              </a:ext>
            </a:extLst>
          </p:cNvPr>
          <p:cNvCxnSpPr>
            <a:cxnSpLocks/>
          </p:cNvCxnSpPr>
          <p:nvPr/>
        </p:nvCxnSpPr>
        <p:spPr>
          <a:xfrm flipV="1">
            <a:off x="9939701" y="5040568"/>
            <a:ext cx="3130712" cy="48137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2" name="Straight Connector 941">
            <a:extLst>
              <a:ext uri="{FF2B5EF4-FFF2-40B4-BE49-F238E27FC236}">
                <a16:creationId xmlns:a16="http://schemas.microsoft.com/office/drawing/2014/main" id="{99C2099A-B44F-497F-B7A2-793935C7AF3C}"/>
              </a:ext>
            </a:extLst>
          </p:cNvPr>
          <p:cNvCxnSpPr>
            <a:cxnSpLocks/>
          </p:cNvCxnSpPr>
          <p:nvPr/>
        </p:nvCxnSpPr>
        <p:spPr>
          <a:xfrm flipV="1">
            <a:off x="10367622" y="5040568"/>
            <a:ext cx="2702791" cy="158337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3" name="Straight Connector 942">
            <a:extLst>
              <a:ext uri="{FF2B5EF4-FFF2-40B4-BE49-F238E27FC236}">
                <a16:creationId xmlns:a16="http://schemas.microsoft.com/office/drawing/2014/main" id="{D31B7763-C156-4CAE-A663-902DDAFF461F}"/>
              </a:ext>
            </a:extLst>
          </p:cNvPr>
          <p:cNvCxnSpPr>
            <a:cxnSpLocks/>
          </p:cNvCxnSpPr>
          <p:nvPr/>
        </p:nvCxnSpPr>
        <p:spPr>
          <a:xfrm flipV="1">
            <a:off x="10311351" y="6524096"/>
            <a:ext cx="2886534" cy="10675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4" name="Straight Connector 943">
            <a:extLst>
              <a:ext uri="{FF2B5EF4-FFF2-40B4-BE49-F238E27FC236}">
                <a16:creationId xmlns:a16="http://schemas.microsoft.com/office/drawing/2014/main" id="{041FFF1C-DBFD-4C9E-943C-46A96B86B934}"/>
              </a:ext>
            </a:extLst>
          </p:cNvPr>
          <p:cNvCxnSpPr>
            <a:cxnSpLocks/>
          </p:cNvCxnSpPr>
          <p:nvPr/>
        </p:nvCxnSpPr>
        <p:spPr>
          <a:xfrm>
            <a:off x="13118068" y="5003674"/>
            <a:ext cx="79817" cy="152042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5" name="Straight Connector 944">
            <a:extLst>
              <a:ext uri="{FF2B5EF4-FFF2-40B4-BE49-F238E27FC236}">
                <a16:creationId xmlns:a16="http://schemas.microsoft.com/office/drawing/2014/main" id="{B65A7B14-0F50-41FB-A681-0EC91026A0DC}"/>
              </a:ext>
            </a:extLst>
          </p:cNvPr>
          <p:cNvCxnSpPr>
            <a:cxnSpLocks/>
          </p:cNvCxnSpPr>
          <p:nvPr/>
        </p:nvCxnSpPr>
        <p:spPr>
          <a:xfrm>
            <a:off x="9926913" y="5532862"/>
            <a:ext cx="408265" cy="104461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6" name="Straight Connector 945">
            <a:extLst>
              <a:ext uri="{FF2B5EF4-FFF2-40B4-BE49-F238E27FC236}">
                <a16:creationId xmlns:a16="http://schemas.microsoft.com/office/drawing/2014/main" id="{6DA2B318-A724-4B24-908D-826D0CF72571}"/>
              </a:ext>
            </a:extLst>
          </p:cNvPr>
          <p:cNvCxnSpPr>
            <a:cxnSpLocks/>
          </p:cNvCxnSpPr>
          <p:nvPr/>
        </p:nvCxnSpPr>
        <p:spPr>
          <a:xfrm flipH="1" flipV="1">
            <a:off x="8995557" y="3102112"/>
            <a:ext cx="984705" cy="236772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9" name="Straight Connector 948">
            <a:extLst>
              <a:ext uri="{FF2B5EF4-FFF2-40B4-BE49-F238E27FC236}">
                <a16:creationId xmlns:a16="http://schemas.microsoft.com/office/drawing/2014/main" id="{FE115962-64A1-44CB-B7A3-2738547A8924}"/>
              </a:ext>
            </a:extLst>
          </p:cNvPr>
          <p:cNvCxnSpPr>
            <a:cxnSpLocks/>
          </p:cNvCxnSpPr>
          <p:nvPr/>
        </p:nvCxnSpPr>
        <p:spPr>
          <a:xfrm flipV="1">
            <a:off x="8968476" y="1688732"/>
            <a:ext cx="80315" cy="14024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2" name="Straight Connector 951">
            <a:extLst>
              <a:ext uri="{FF2B5EF4-FFF2-40B4-BE49-F238E27FC236}">
                <a16:creationId xmlns:a16="http://schemas.microsoft.com/office/drawing/2014/main" id="{6CAD62A5-5D64-4182-92B0-0A45F4CEF74C}"/>
              </a:ext>
            </a:extLst>
          </p:cNvPr>
          <p:cNvCxnSpPr>
            <a:cxnSpLocks/>
          </p:cNvCxnSpPr>
          <p:nvPr/>
        </p:nvCxnSpPr>
        <p:spPr>
          <a:xfrm flipH="1">
            <a:off x="6131310" y="1672252"/>
            <a:ext cx="2903635" cy="312750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5" name="Straight Connector 954">
            <a:extLst>
              <a:ext uri="{FF2B5EF4-FFF2-40B4-BE49-F238E27FC236}">
                <a16:creationId xmlns:a16="http://schemas.microsoft.com/office/drawing/2014/main" id="{8C60BC78-45E8-49B7-A3D7-6D58AE349ECF}"/>
              </a:ext>
            </a:extLst>
          </p:cNvPr>
          <p:cNvCxnSpPr>
            <a:cxnSpLocks/>
          </p:cNvCxnSpPr>
          <p:nvPr/>
        </p:nvCxnSpPr>
        <p:spPr>
          <a:xfrm flipH="1">
            <a:off x="5808651" y="1679050"/>
            <a:ext cx="3249998" cy="199422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9" name="Straight Connector 958">
            <a:extLst>
              <a:ext uri="{FF2B5EF4-FFF2-40B4-BE49-F238E27FC236}">
                <a16:creationId xmlns:a16="http://schemas.microsoft.com/office/drawing/2014/main" id="{B18836EB-FE52-41C7-9B03-FDFE2A62C2D0}"/>
              </a:ext>
            </a:extLst>
          </p:cNvPr>
          <p:cNvCxnSpPr>
            <a:cxnSpLocks/>
          </p:cNvCxnSpPr>
          <p:nvPr/>
        </p:nvCxnSpPr>
        <p:spPr>
          <a:xfrm flipV="1">
            <a:off x="6938312" y="4632025"/>
            <a:ext cx="2049489" cy="200847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2" name="Straight Connector 961">
            <a:extLst>
              <a:ext uri="{FF2B5EF4-FFF2-40B4-BE49-F238E27FC236}">
                <a16:creationId xmlns:a16="http://schemas.microsoft.com/office/drawing/2014/main" id="{FE5561A9-F11F-4CC1-B0DB-C7E55EDC357D}"/>
              </a:ext>
            </a:extLst>
          </p:cNvPr>
          <p:cNvCxnSpPr>
            <a:cxnSpLocks/>
          </p:cNvCxnSpPr>
          <p:nvPr/>
        </p:nvCxnSpPr>
        <p:spPr>
          <a:xfrm flipH="1" flipV="1">
            <a:off x="6131310" y="4806560"/>
            <a:ext cx="807002" cy="18339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5" name="Straight Connector 964">
            <a:extLst>
              <a:ext uri="{FF2B5EF4-FFF2-40B4-BE49-F238E27FC236}">
                <a16:creationId xmlns:a16="http://schemas.microsoft.com/office/drawing/2014/main" id="{074C3EDB-ADAA-444B-AD6F-BDA71912000D}"/>
              </a:ext>
            </a:extLst>
          </p:cNvPr>
          <p:cNvCxnSpPr>
            <a:cxnSpLocks/>
          </p:cNvCxnSpPr>
          <p:nvPr/>
        </p:nvCxnSpPr>
        <p:spPr>
          <a:xfrm flipH="1">
            <a:off x="4959848" y="4799761"/>
            <a:ext cx="1171462" cy="957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8" name="Straight Connector 967">
            <a:extLst>
              <a:ext uri="{FF2B5EF4-FFF2-40B4-BE49-F238E27FC236}">
                <a16:creationId xmlns:a16="http://schemas.microsoft.com/office/drawing/2014/main" id="{FF1338EE-591B-41B0-959A-AB5BB07B36C9}"/>
              </a:ext>
            </a:extLst>
          </p:cNvPr>
          <p:cNvCxnSpPr>
            <a:cxnSpLocks/>
          </p:cNvCxnSpPr>
          <p:nvPr/>
        </p:nvCxnSpPr>
        <p:spPr>
          <a:xfrm flipH="1">
            <a:off x="1916013" y="5727525"/>
            <a:ext cx="3078485" cy="9467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1" name="Straight Connector 970">
            <a:extLst>
              <a:ext uri="{FF2B5EF4-FFF2-40B4-BE49-F238E27FC236}">
                <a16:creationId xmlns:a16="http://schemas.microsoft.com/office/drawing/2014/main" id="{D10327DE-0633-4383-A856-F832C9BB53CD}"/>
              </a:ext>
            </a:extLst>
          </p:cNvPr>
          <p:cNvCxnSpPr>
            <a:cxnSpLocks/>
          </p:cNvCxnSpPr>
          <p:nvPr/>
        </p:nvCxnSpPr>
        <p:spPr>
          <a:xfrm flipV="1">
            <a:off x="1950664" y="5040568"/>
            <a:ext cx="392499" cy="161472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3" name="Straight Connector 972">
            <a:extLst>
              <a:ext uri="{FF2B5EF4-FFF2-40B4-BE49-F238E27FC236}">
                <a16:creationId xmlns:a16="http://schemas.microsoft.com/office/drawing/2014/main" id="{46A8FF25-EEBD-4F8D-9D30-3362E64456E1}"/>
              </a:ext>
            </a:extLst>
          </p:cNvPr>
          <p:cNvCxnSpPr>
            <a:cxnSpLocks/>
          </p:cNvCxnSpPr>
          <p:nvPr/>
        </p:nvCxnSpPr>
        <p:spPr>
          <a:xfrm flipV="1">
            <a:off x="1877073" y="3673277"/>
            <a:ext cx="3896658" cy="3018904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4" name="Oval 863">
            <a:extLst>
              <a:ext uri="{FF2B5EF4-FFF2-40B4-BE49-F238E27FC236}">
                <a16:creationId xmlns:a16="http://schemas.microsoft.com/office/drawing/2014/main" id="{656220FC-9673-4791-A5AD-2962C4F4096C}"/>
              </a:ext>
            </a:extLst>
          </p:cNvPr>
          <p:cNvSpPr/>
          <p:nvPr/>
        </p:nvSpPr>
        <p:spPr>
          <a:xfrm>
            <a:off x="1061156" y="14513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5" name="Oval 864">
            <a:extLst>
              <a:ext uri="{FF2B5EF4-FFF2-40B4-BE49-F238E27FC236}">
                <a16:creationId xmlns:a16="http://schemas.microsoft.com/office/drawing/2014/main" id="{B05CD7DF-BD0D-487F-9081-440401DAB20F}"/>
              </a:ext>
            </a:extLst>
          </p:cNvPr>
          <p:cNvSpPr/>
          <p:nvPr/>
        </p:nvSpPr>
        <p:spPr>
          <a:xfrm>
            <a:off x="2082603" y="227685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6" name="Oval 865">
            <a:extLst>
              <a:ext uri="{FF2B5EF4-FFF2-40B4-BE49-F238E27FC236}">
                <a16:creationId xmlns:a16="http://schemas.microsoft.com/office/drawing/2014/main" id="{2A71D65B-9E58-4105-8F02-DD0F733585F2}"/>
              </a:ext>
            </a:extLst>
          </p:cNvPr>
          <p:cNvSpPr/>
          <p:nvPr/>
        </p:nvSpPr>
        <p:spPr>
          <a:xfrm>
            <a:off x="1266373" y="338248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7" name="Oval 866">
            <a:extLst>
              <a:ext uri="{FF2B5EF4-FFF2-40B4-BE49-F238E27FC236}">
                <a16:creationId xmlns:a16="http://schemas.microsoft.com/office/drawing/2014/main" id="{A9915106-EE06-4BA4-88EE-B10136F8CA03}"/>
              </a:ext>
            </a:extLst>
          </p:cNvPr>
          <p:cNvSpPr/>
          <p:nvPr/>
        </p:nvSpPr>
        <p:spPr>
          <a:xfrm>
            <a:off x="1979483" y="465579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0" name="Oval 909">
            <a:extLst>
              <a:ext uri="{FF2B5EF4-FFF2-40B4-BE49-F238E27FC236}">
                <a16:creationId xmlns:a16="http://schemas.microsoft.com/office/drawing/2014/main" id="{50286384-EB76-400C-9FAE-C5520F37F0C9}"/>
              </a:ext>
            </a:extLst>
          </p:cNvPr>
          <p:cNvSpPr/>
          <p:nvPr/>
        </p:nvSpPr>
        <p:spPr>
          <a:xfrm>
            <a:off x="1544363" y="630260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1" name="Oval 910">
            <a:extLst>
              <a:ext uri="{FF2B5EF4-FFF2-40B4-BE49-F238E27FC236}">
                <a16:creationId xmlns:a16="http://schemas.microsoft.com/office/drawing/2014/main" id="{4750B1A3-2F34-472D-AF95-247A8463D8AE}"/>
              </a:ext>
            </a:extLst>
          </p:cNvPr>
          <p:cNvSpPr/>
          <p:nvPr/>
        </p:nvSpPr>
        <p:spPr>
          <a:xfrm>
            <a:off x="4617709" y="535587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2" name="Oval 911">
            <a:extLst>
              <a:ext uri="{FF2B5EF4-FFF2-40B4-BE49-F238E27FC236}">
                <a16:creationId xmlns:a16="http://schemas.microsoft.com/office/drawing/2014/main" id="{85FE3431-8BF5-489B-A536-817D725066C1}"/>
              </a:ext>
            </a:extLst>
          </p:cNvPr>
          <p:cNvSpPr/>
          <p:nvPr/>
        </p:nvSpPr>
        <p:spPr>
          <a:xfrm>
            <a:off x="5853495" y="2236789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3" name="Oval 912">
            <a:extLst>
              <a:ext uri="{FF2B5EF4-FFF2-40B4-BE49-F238E27FC236}">
                <a16:creationId xmlns:a16="http://schemas.microsoft.com/office/drawing/2014/main" id="{183E9E20-3D7A-43BA-AFDE-630A45FAF5EA}"/>
              </a:ext>
            </a:extLst>
          </p:cNvPr>
          <p:cNvSpPr/>
          <p:nvPr/>
        </p:nvSpPr>
        <p:spPr>
          <a:xfrm>
            <a:off x="5759660" y="442811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4" name="Oval 913">
            <a:extLst>
              <a:ext uri="{FF2B5EF4-FFF2-40B4-BE49-F238E27FC236}">
                <a16:creationId xmlns:a16="http://schemas.microsoft.com/office/drawing/2014/main" id="{E9770BE1-340E-4A68-80D7-6A3A018F8160}"/>
              </a:ext>
            </a:extLst>
          </p:cNvPr>
          <p:cNvSpPr/>
          <p:nvPr/>
        </p:nvSpPr>
        <p:spPr>
          <a:xfrm>
            <a:off x="5408254" y="330162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5" name="Oval 914">
            <a:extLst>
              <a:ext uri="{FF2B5EF4-FFF2-40B4-BE49-F238E27FC236}">
                <a16:creationId xmlns:a16="http://schemas.microsoft.com/office/drawing/2014/main" id="{9180D279-579A-4C97-B40E-FB5B11391754}"/>
              </a:ext>
            </a:extLst>
          </p:cNvPr>
          <p:cNvSpPr/>
          <p:nvPr/>
        </p:nvSpPr>
        <p:spPr>
          <a:xfrm>
            <a:off x="8693242" y="13170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6" name="Oval 915">
            <a:extLst>
              <a:ext uri="{FF2B5EF4-FFF2-40B4-BE49-F238E27FC236}">
                <a16:creationId xmlns:a16="http://schemas.microsoft.com/office/drawing/2014/main" id="{443EE924-95A0-4D9E-B7F1-8D1C1439C3D6}"/>
              </a:ext>
            </a:extLst>
          </p:cNvPr>
          <p:cNvSpPr/>
          <p:nvPr/>
        </p:nvSpPr>
        <p:spPr>
          <a:xfrm>
            <a:off x="12045985" y="20955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7" name="Oval 916">
            <a:extLst>
              <a:ext uri="{FF2B5EF4-FFF2-40B4-BE49-F238E27FC236}">
                <a16:creationId xmlns:a16="http://schemas.microsoft.com/office/drawing/2014/main" id="{E57315EA-C42D-439E-B2DF-8136BE129AC0}"/>
              </a:ext>
            </a:extLst>
          </p:cNvPr>
          <p:cNvSpPr/>
          <p:nvPr/>
        </p:nvSpPr>
        <p:spPr>
          <a:xfrm>
            <a:off x="11871609" y="339641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8" name="Oval 917">
            <a:extLst>
              <a:ext uri="{FF2B5EF4-FFF2-40B4-BE49-F238E27FC236}">
                <a16:creationId xmlns:a16="http://schemas.microsoft.com/office/drawing/2014/main" id="{C57CFB81-7906-4053-9635-E52B3C69A0A9}"/>
              </a:ext>
            </a:extLst>
          </p:cNvPr>
          <p:cNvSpPr/>
          <p:nvPr/>
        </p:nvSpPr>
        <p:spPr>
          <a:xfrm>
            <a:off x="8618608" y="428635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9" name="Oval 918">
            <a:extLst>
              <a:ext uri="{FF2B5EF4-FFF2-40B4-BE49-F238E27FC236}">
                <a16:creationId xmlns:a16="http://schemas.microsoft.com/office/drawing/2014/main" id="{9B39FEDC-822C-400A-8DA7-114B5C9A44E8}"/>
              </a:ext>
            </a:extLst>
          </p:cNvPr>
          <p:cNvSpPr/>
          <p:nvPr/>
        </p:nvSpPr>
        <p:spPr>
          <a:xfrm>
            <a:off x="8602898" y="273046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0" name="Oval 919">
            <a:extLst>
              <a:ext uri="{FF2B5EF4-FFF2-40B4-BE49-F238E27FC236}">
                <a16:creationId xmlns:a16="http://schemas.microsoft.com/office/drawing/2014/main" id="{395FB9D4-4AC5-4CF4-9AA2-22C09BF327CE}"/>
              </a:ext>
            </a:extLst>
          </p:cNvPr>
          <p:cNvSpPr/>
          <p:nvPr/>
        </p:nvSpPr>
        <p:spPr>
          <a:xfrm>
            <a:off x="6588879" y="625920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1" name="Oval 920">
            <a:extLst>
              <a:ext uri="{FF2B5EF4-FFF2-40B4-BE49-F238E27FC236}">
                <a16:creationId xmlns:a16="http://schemas.microsoft.com/office/drawing/2014/main" id="{F1EAC484-360B-4B6A-8D4A-CCCC84D9B808}"/>
              </a:ext>
            </a:extLst>
          </p:cNvPr>
          <p:cNvSpPr/>
          <p:nvPr/>
        </p:nvSpPr>
        <p:spPr>
          <a:xfrm>
            <a:off x="9995972" y="62522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2" name="Oval 921">
            <a:extLst>
              <a:ext uri="{FF2B5EF4-FFF2-40B4-BE49-F238E27FC236}">
                <a16:creationId xmlns:a16="http://schemas.microsoft.com/office/drawing/2014/main" id="{6F977432-F473-46AA-929B-FC604DA4D118}"/>
              </a:ext>
            </a:extLst>
          </p:cNvPr>
          <p:cNvSpPr/>
          <p:nvPr/>
        </p:nvSpPr>
        <p:spPr>
          <a:xfrm>
            <a:off x="12826235" y="6152446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3" name="Oval 922">
            <a:extLst>
              <a:ext uri="{FF2B5EF4-FFF2-40B4-BE49-F238E27FC236}">
                <a16:creationId xmlns:a16="http://schemas.microsoft.com/office/drawing/2014/main" id="{16EBB82C-4623-4F40-8FE9-02443BD27F85}"/>
              </a:ext>
            </a:extLst>
          </p:cNvPr>
          <p:cNvSpPr/>
          <p:nvPr/>
        </p:nvSpPr>
        <p:spPr>
          <a:xfrm>
            <a:off x="12730752" y="463202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4" name="Oval 923">
            <a:extLst>
              <a:ext uri="{FF2B5EF4-FFF2-40B4-BE49-F238E27FC236}">
                <a16:creationId xmlns:a16="http://schemas.microsoft.com/office/drawing/2014/main" id="{4A516FDD-95C7-46A3-AA01-7478DD99977E}"/>
              </a:ext>
            </a:extLst>
          </p:cNvPr>
          <p:cNvSpPr/>
          <p:nvPr/>
        </p:nvSpPr>
        <p:spPr>
          <a:xfrm>
            <a:off x="9568051" y="515029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28" name="Straight Connector 927">
            <a:extLst>
              <a:ext uri="{FF2B5EF4-FFF2-40B4-BE49-F238E27FC236}">
                <a16:creationId xmlns:a16="http://schemas.microsoft.com/office/drawing/2014/main" id="{778C0266-B7D0-4AE7-A4AC-E1C32F20DE4E}"/>
              </a:ext>
            </a:extLst>
          </p:cNvPr>
          <p:cNvCxnSpPr>
            <a:cxnSpLocks/>
          </p:cNvCxnSpPr>
          <p:nvPr/>
        </p:nvCxnSpPr>
        <p:spPr>
          <a:xfrm flipV="1">
            <a:off x="2442914" y="1564292"/>
            <a:ext cx="2578979" cy="10713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Oval 2">
            <a:extLst>
              <a:ext uri="{FF2B5EF4-FFF2-40B4-BE49-F238E27FC236}">
                <a16:creationId xmlns:a16="http://schemas.microsoft.com/office/drawing/2014/main" id="{8626FB49-6560-4B21-B2CB-4316F6A904EA}"/>
              </a:ext>
            </a:extLst>
          </p:cNvPr>
          <p:cNvSpPr/>
          <p:nvPr/>
        </p:nvSpPr>
        <p:spPr>
          <a:xfrm>
            <a:off x="4650239" y="1149823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33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39763"/>
            <a:ext cx="13258800" cy="1417636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796B4E7A-AAA2-4AE0-A1EE-0411397663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269" y="3128242"/>
            <a:ext cx="3333982" cy="191703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6" name="Content Placeholder 7"/>
          <p:cNvPicPr>
            <a:picLocks noChangeAspect="1"/>
          </p:cNvPicPr>
          <p:nvPr/>
        </p:nvPicPr>
        <p:blipFill rotWithShape="1">
          <a:blip r:embed="rId3"/>
          <a:srcRect t="40548" b="41931"/>
          <a:stretch/>
        </p:blipFill>
        <p:spPr>
          <a:xfrm>
            <a:off x="1864471" y="6060388"/>
            <a:ext cx="10901456" cy="105495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F62A70A-91F0-49C4-B29E-0D0FB50E73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6013" y="3128239"/>
            <a:ext cx="3333990" cy="1917044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5216681" y="4127085"/>
            <a:ext cx="447358" cy="2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6D38D053-16AC-4E87-BF1F-C42CA8887C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5461" y="3135002"/>
            <a:ext cx="3310469" cy="190351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24" name="Straight Connector 23"/>
          <p:cNvCxnSpPr>
            <a:cxnSpLocks/>
          </p:cNvCxnSpPr>
          <p:nvPr/>
        </p:nvCxnSpPr>
        <p:spPr>
          <a:xfrm flipV="1">
            <a:off x="9003387" y="4123187"/>
            <a:ext cx="452074" cy="1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59E2360-291C-4D93-A678-D01351E9B6BD}"/>
              </a:ext>
            </a:extLst>
          </p:cNvPr>
          <p:cNvSpPr/>
          <p:nvPr/>
        </p:nvSpPr>
        <p:spPr>
          <a:xfrm>
            <a:off x="1836591" y="2075156"/>
            <a:ext cx="10929339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accent3"/>
                </a:solidFill>
              </a:rPr>
              <a:t>DXC Digital Explorer | Storie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104CA70-A905-4AD9-ACB0-6CA81A2186A8}"/>
              </a:ext>
            </a:extLst>
          </p:cNvPr>
          <p:cNvCxnSpPr>
            <a:cxnSpLocks/>
          </p:cNvCxnSpPr>
          <p:nvPr/>
        </p:nvCxnSpPr>
        <p:spPr>
          <a:xfrm>
            <a:off x="3542237" y="2602632"/>
            <a:ext cx="21542" cy="525607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6CC7F60-55C0-4421-B882-FA3A87E938AD}"/>
              </a:ext>
            </a:extLst>
          </p:cNvPr>
          <p:cNvCxnSpPr>
            <a:cxnSpLocks/>
          </p:cNvCxnSpPr>
          <p:nvPr/>
        </p:nvCxnSpPr>
        <p:spPr>
          <a:xfrm>
            <a:off x="11110695" y="2602632"/>
            <a:ext cx="0" cy="53237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24F4695-B8B7-4782-9E2E-9E9FB8A13371}"/>
              </a:ext>
            </a:extLst>
          </p:cNvPr>
          <p:cNvGrpSpPr/>
          <p:nvPr/>
        </p:nvGrpSpPr>
        <p:grpSpPr>
          <a:xfrm>
            <a:off x="1949293" y="4123187"/>
            <a:ext cx="3207430" cy="864096"/>
            <a:chOff x="0" y="4258816"/>
            <a:chExt cx="3207430" cy="86409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F2EDDC5-E896-44E2-A65A-C423B2527D03}"/>
                </a:ext>
              </a:extLst>
            </p:cNvPr>
            <p:cNvSpPr/>
            <p:nvPr/>
          </p:nvSpPr>
          <p:spPr>
            <a:xfrm>
              <a:off x="0" y="4258816"/>
              <a:ext cx="2994701" cy="864096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0B1AE06-204B-4BE5-8CBD-3012BAEE4FD0}"/>
                </a:ext>
              </a:extLst>
            </p:cNvPr>
            <p:cNvGrpSpPr/>
            <p:nvPr/>
          </p:nvGrpSpPr>
          <p:grpSpPr>
            <a:xfrm>
              <a:off x="154362" y="4348315"/>
              <a:ext cx="3053068" cy="685098"/>
              <a:chOff x="193374" y="4366987"/>
              <a:chExt cx="3053068" cy="685098"/>
            </a:xfrm>
          </p:grpSpPr>
          <p:grpSp>
            <p:nvGrpSpPr>
              <p:cNvPr id="15" name="Group 14"/>
              <p:cNvGrpSpPr/>
              <p:nvPr/>
            </p:nvGrpSpPr>
            <p:grpSpPr>
              <a:xfrm>
                <a:off x="402052" y="4366987"/>
                <a:ext cx="2635708" cy="285972"/>
                <a:chOff x="1303196" y="4059783"/>
                <a:chExt cx="3238308" cy="351354"/>
              </a:xfrm>
            </p:grpSpPr>
            <p:sp>
              <p:nvSpPr>
                <p:cNvPr id="10" name="TextBox 9">
                  <a:hlinkClick r:id="rId6"/>
                </p:cNvPr>
                <p:cNvSpPr txBox="1"/>
                <p:nvPr/>
              </p:nvSpPr>
              <p:spPr>
                <a:xfrm>
                  <a:off x="1685891" y="4059783"/>
                  <a:ext cx="2855613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1200" b="1" dirty="0">
                      <a:solidFill>
                        <a:schemeClr val="accent3"/>
                      </a:solidFill>
                    </a:rPr>
                    <a:t>DXC Digital Explorer | Trends</a:t>
                  </a:r>
                </a:p>
              </p:txBody>
            </p:sp>
            <p:pic>
              <p:nvPicPr>
                <p:cNvPr id="11" name="Picture 10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303196" y="4077762"/>
                  <a:ext cx="352425" cy="333375"/>
                </a:xfrm>
                <a:prstGeom prst="rect">
                  <a:avLst/>
                </a:prstGeom>
              </p:spPr>
            </p:pic>
          </p:grpSp>
          <p:grpSp>
            <p:nvGrpSpPr>
              <p:cNvPr id="14" name="Group 13"/>
              <p:cNvGrpSpPr/>
              <p:nvPr/>
            </p:nvGrpSpPr>
            <p:grpSpPr>
              <a:xfrm>
                <a:off x="193374" y="4766113"/>
                <a:ext cx="3053068" cy="285972"/>
                <a:chOff x="5670472" y="4079523"/>
                <a:chExt cx="3751088" cy="351354"/>
              </a:xfrm>
            </p:grpSpPr>
            <p:sp>
              <p:nvSpPr>
                <p:cNvPr id="12" name="TextBox 11"/>
                <p:cNvSpPr txBox="1"/>
                <p:nvPr/>
              </p:nvSpPr>
              <p:spPr>
                <a:xfrm>
                  <a:off x="6078379" y="4079523"/>
                  <a:ext cx="3343181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>
                    <a:defRPr sz="1800" b="1">
                      <a:solidFill>
                        <a:schemeClr val="accent3"/>
                      </a:solidFill>
                    </a:defRPr>
                  </a:lvl1pPr>
                </a:lstStyle>
                <a:p>
                  <a:r>
                    <a:rPr lang="en-GB" sz="1200" dirty="0"/>
                    <a:t>DXC Digital Explorer | Workspaces</a:t>
                  </a:r>
                </a:p>
              </p:txBody>
            </p:sp>
            <p:pic>
              <p:nvPicPr>
                <p:cNvPr id="13" name="Picture 12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670472" y="4097502"/>
                  <a:ext cx="352425" cy="333375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C38A555D-B275-4A12-BB23-0F37D85E72F5}"/>
              </a:ext>
            </a:extLst>
          </p:cNvPr>
          <p:cNvSpPr/>
          <p:nvPr/>
        </p:nvSpPr>
        <p:spPr>
          <a:xfrm>
            <a:off x="9613345" y="4033688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8" name="Group 17"/>
          <p:cNvGrpSpPr/>
          <p:nvPr/>
        </p:nvGrpSpPr>
        <p:grpSpPr>
          <a:xfrm>
            <a:off x="9702695" y="4322750"/>
            <a:ext cx="2816001" cy="285972"/>
            <a:chOff x="10700177" y="4138339"/>
            <a:chExt cx="3459820" cy="351354"/>
          </a:xfrm>
        </p:grpSpPr>
        <p:sp>
          <p:nvSpPr>
            <p:cNvPr id="16" name="TextBox 15"/>
            <p:cNvSpPr txBox="1"/>
            <p:nvPr/>
          </p:nvSpPr>
          <p:spPr>
            <a:xfrm>
              <a:off x="11059616" y="4138339"/>
              <a:ext cx="3100381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Solutions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700177" y="4156318"/>
              <a:ext cx="352425" cy="333375"/>
            </a:xfrm>
            <a:prstGeom prst="rect">
              <a:avLst/>
            </a:prstGeom>
          </p:spPr>
        </p:pic>
      </p:grpSp>
      <p:cxnSp>
        <p:nvCxnSpPr>
          <p:cNvPr id="44" name="Straight Connector 43"/>
          <p:cNvCxnSpPr>
            <a:cxnSpLocks/>
          </p:cNvCxnSpPr>
          <p:nvPr/>
        </p:nvCxnSpPr>
        <p:spPr>
          <a:xfrm flipH="1">
            <a:off x="3540141" y="5045283"/>
            <a:ext cx="25734" cy="996436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0" name="Rectangle: Rounded Corners 49"/>
          <p:cNvSpPr/>
          <p:nvPr/>
        </p:nvSpPr>
        <p:spPr>
          <a:xfrm>
            <a:off x="2117103" y="5286142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Understand</a:t>
            </a:r>
          </a:p>
        </p:txBody>
      </p:sp>
      <p:cxnSp>
        <p:nvCxnSpPr>
          <p:cNvPr id="48" name="Straight Connector 47"/>
          <p:cNvCxnSpPr>
            <a:cxnSpLocks/>
          </p:cNvCxnSpPr>
          <p:nvPr/>
        </p:nvCxnSpPr>
        <p:spPr>
          <a:xfrm>
            <a:off x="11110695" y="4897784"/>
            <a:ext cx="0" cy="1162604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Rectangle: Rounded Corners 51"/>
          <p:cNvSpPr/>
          <p:nvPr/>
        </p:nvSpPr>
        <p:spPr>
          <a:xfrm>
            <a:off x="9674790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Deliver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379688" y="6959976"/>
            <a:ext cx="1871025" cy="276999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GB" sz="1200" dirty="0"/>
              <a:t>DXC Knowledge Graph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22A786F-E78F-42BB-BBDC-30B76252B062}"/>
              </a:ext>
            </a:extLst>
          </p:cNvPr>
          <p:cNvCxnSpPr>
            <a:cxnSpLocks/>
          </p:cNvCxnSpPr>
          <p:nvPr/>
        </p:nvCxnSpPr>
        <p:spPr>
          <a:xfrm flipH="1">
            <a:off x="7315200" y="2602632"/>
            <a:ext cx="1" cy="52561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43B26967-0DCE-44AC-8425-6BF15224FEE5}"/>
              </a:ext>
            </a:extLst>
          </p:cNvPr>
          <p:cNvSpPr/>
          <p:nvPr/>
        </p:nvSpPr>
        <p:spPr>
          <a:xfrm>
            <a:off x="5817850" y="4044669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13DBA72-9C06-4726-9FFD-368097AA5C46}"/>
              </a:ext>
            </a:extLst>
          </p:cNvPr>
          <p:cNvGrpSpPr/>
          <p:nvPr/>
        </p:nvGrpSpPr>
        <p:grpSpPr>
          <a:xfrm>
            <a:off x="5846599" y="4345162"/>
            <a:ext cx="2937202" cy="285972"/>
            <a:chOff x="5670472" y="4079523"/>
            <a:chExt cx="3608731" cy="351354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73CC001-0438-43CE-80C7-A26ABB6E8777}"/>
                </a:ext>
              </a:extLst>
            </p:cNvPr>
            <p:cNvSpPr txBox="1"/>
            <p:nvPr/>
          </p:nvSpPr>
          <p:spPr>
            <a:xfrm>
              <a:off x="6078379" y="4079523"/>
              <a:ext cx="3200824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Roadmaps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031454E-5673-4FE5-AE91-8BD6FF761DB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670472" y="4097502"/>
              <a:ext cx="352425" cy="333375"/>
            </a:xfrm>
            <a:prstGeom prst="rect">
              <a:avLst/>
            </a:prstGeom>
          </p:spPr>
        </p:pic>
      </p:grpSp>
      <p:cxnSp>
        <p:nvCxnSpPr>
          <p:cNvPr id="47" name="Straight Connector 46"/>
          <p:cNvCxnSpPr>
            <a:cxnSpLocks/>
          </p:cNvCxnSpPr>
          <p:nvPr/>
        </p:nvCxnSpPr>
        <p:spPr>
          <a:xfrm>
            <a:off x="7292716" y="4908765"/>
            <a:ext cx="44969" cy="1151623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1" name="Rectangle: Rounded Corners 50"/>
          <p:cNvSpPr/>
          <p:nvPr/>
        </p:nvSpPr>
        <p:spPr>
          <a:xfrm>
            <a:off x="5879295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Shape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47DE2E87-7B6E-4CE2-B2BC-FC9E25EADA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16445" y="426935"/>
            <a:ext cx="2797511" cy="173270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5449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EF6D0573-6E9A-43B1-9799-132B4142D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0200" y="648838"/>
            <a:ext cx="12892922" cy="1417636"/>
          </a:xfrm>
        </p:spPr>
        <p:txBody>
          <a:bodyPr>
            <a:normAutofit/>
          </a:bodyPr>
          <a:lstStyle/>
          <a:p>
            <a:r>
              <a:rPr lang="en-GB" sz="3600" dirty="0"/>
              <a:t>Client Goals to Outcomes with DXC Digital Explorer</a:t>
            </a:r>
          </a:p>
        </p:txBody>
      </p: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242F2EF6-F2FE-4EA9-B261-5C5A8AD46AB6}"/>
              </a:ext>
            </a:extLst>
          </p:cNvPr>
          <p:cNvGrpSpPr/>
          <p:nvPr/>
        </p:nvGrpSpPr>
        <p:grpSpPr>
          <a:xfrm>
            <a:off x="7900059" y="1486030"/>
            <a:ext cx="4598172" cy="3071996"/>
            <a:chOff x="7990532" y="-2272963"/>
            <a:chExt cx="4538069" cy="4538069"/>
          </a:xfrm>
        </p:grpSpPr>
        <p:sp>
          <p:nvSpPr>
            <p:cNvPr id="149" name="Partial Circle 148">
              <a:extLst>
                <a:ext uri="{FF2B5EF4-FFF2-40B4-BE49-F238E27FC236}">
                  <a16:creationId xmlns:a16="http://schemas.microsoft.com/office/drawing/2014/main" id="{54DF1E55-DDAA-47A9-AD71-AB77D6C5D00A}"/>
                </a:ext>
              </a:extLst>
            </p:cNvPr>
            <p:cNvSpPr/>
            <p:nvPr/>
          </p:nvSpPr>
          <p:spPr>
            <a:xfrm>
              <a:off x="7990532" y="-2272963"/>
              <a:ext cx="4538069" cy="4538069"/>
            </a:xfrm>
            <a:prstGeom prst="pie">
              <a:avLst>
                <a:gd name="adj1" fmla="val 5402745"/>
                <a:gd name="adj2" fmla="val 10820814"/>
              </a:avLst>
            </a:pr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Partial Circle 149">
              <a:extLst>
                <a:ext uri="{FF2B5EF4-FFF2-40B4-BE49-F238E27FC236}">
                  <a16:creationId xmlns:a16="http://schemas.microsoft.com/office/drawing/2014/main" id="{63FA2C58-DB42-4944-932A-85955572273E}"/>
                </a:ext>
              </a:extLst>
            </p:cNvPr>
            <p:cNvSpPr/>
            <p:nvPr/>
          </p:nvSpPr>
          <p:spPr>
            <a:xfrm>
              <a:off x="8597878" y="-1665617"/>
              <a:ext cx="3323377" cy="3323377"/>
            </a:xfrm>
            <a:prstGeom prst="pie">
              <a:avLst>
                <a:gd name="adj1" fmla="val 5402745"/>
                <a:gd name="adj2" fmla="val 10820814"/>
              </a:avLst>
            </a:pr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1" name="Partial Circle 150">
              <a:extLst>
                <a:ext uri="{FF2B5EF4-FFF2-40B4-BE49-F238E27FC236}">
                  <a16:creationId xmlns:a16="http://schemas.microsoft.com/office/drawing/2014/main" id="{C5FE6F8F-DA39-4CBE-9A27-72F9BEDEDB5E}"/>
                </a:ext>
              </a:extLst>
            </p:cNvPr>
            <p:cNvSpPr/>
            <p:nvPr/>
          </p:nvSpPr>
          <p:spPr>
            <a:xfrm>
              <a:off x="9039428" y="-1224067"/>
              <a:ext cx="2440277" cy="2440277"/>
            </a:xfrm>
            <a:prstGeom prst="pie">
              <a:avLst>
                <a:gd name="adj1" fmla="val 5402745"/>
                <a:gd name="adj2" fmla="val 10820814"/>
              </a:avLst>
            </a:pr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AF7B25B-EA40-487B-9F75-0D369AC2F78F}"/>
              </a:ext>
            </a:extLst>
          </p:cNvPr>
          <p:cNvSpPr/>
          <p:nvPr/>
        </p:nvSpPr>
        <p:spPr>
          <a:xfrm>
            <a:off x="3915946" y="2321555"/>
            <a:ext cx="3283974" cy="3699388"/>
          </a:xfrm>
          <a:prstGeom prst="roundRect">
            <a:avLst>
              <a:gd name="adj" fmla="val 5889"/>
            </a:avLst>
          </a:prstGeom>
          <a:noFill/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04F3C32-5880-4078-A585-2674D8D1D173}"/>
              </a:ext>
            </a:extLst>
          </p:cNvPr>
          <p:cNvSpPr/>
          <p:nvPr/>
        </p:nvSpPr>
        <p:spPr>
          <a:xfrm>
            <a:off x="440242" y="2321555"/>
            <a:ext cx="3283974" cy="3699388"/>
          </a:xfrm>
          <a:prstGeom prst="roundRect">
            <a:avLst>
              <a:gd name="adj" fmla="val 5889"/>
            </a:avLst>
          </a:prstGeom>
          <a:noFill/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E86F0A2-407D-45E7-9B89-294866672A1C}"/>
              </a:ext>
            </a:extLst>
          </p:cNvPr>
          <p:cNvSpPr/>
          <p:nvPr/>
        </p:nvSpPr>
        <p:spPr>
          <a:xfrm>
            <a:off x="7406397" y="2321555"/>
            <a:ext cx="3283974" cy="3699388"/>
          </a:xfrm>
          <a:prstGeom prst="roundRect">
            <a:avLst>
              <a:gd name="adj" fmla="val 5889"/>
            </a:avLst>
          </a:prstGeom>
          <a:noFill/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085E9E5-92C0-46EF-A5E7-F0B193764B7F}"/>
              </a:ext>
            </a:extLst>
          </p:cNvPr>
          <p:cNvSpPr/>
          <p:nvPr/>
        </p:nvSpPr>
        <p:spPr>
          <a:xfrm>
            <a:off x="10852603" y="2321555"/>
            <a:ext cx="3283974" cy="3699388"/>
          </a:xfrm>
          <a:prstGeom prst="roundRect">
            <a:avLst>
              <a:gd name="adj" fmla="val 5889"/>
            </a:avLst>
          </a:prstGeom>
          <a:noFill/>
          <a:ln w="7620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18ED288F-531A-4593-A3F1-8D0243BFEF90}"/>
              </a:ext>
            </a:extLst>
          </p:cNvPr>
          <p:cNvSpPr/>
          <p:nvPr/>
        </p:nvSpPr>
        <p:spPr>
          <a:xfrm>
            <a:off x="440243" y="6301161"/>
            <a:ext cx="6833420" cy="688259"/>
          </a:xfrm>
          <a:prstGeom prst="rightArrow">
            <a:avLst>
              <a:gd name="adj1" fmla="val 100000"/>
              <a:gd name="adj2" fmla="val 50000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XC Digital Explorer Workspaces</a:t>
            </a: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94666EE0-E32A-4720-A975-8825039CDF4F}"/>
              </a:ext>
            </a:extLst>
          </p:cNvPr>
          <p:cNvSpPr/>
          <p:nvPr/>
        </p:nvSpPr>
        <p:spPr>
          <a:xfrm>
            <a:off x="7401482" y="6301160"/>
            <a:ext cx="6788676" cy="688259"/>
          </a:xfrm>
          <a:prstGeom prst="rightArrow">
            <a:avLst>
              <a:gd name="adj1" fmla="val 100000"/>
              <a:gd name="adj2" fmla="val 50000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XC Digital Explorer Roadmaps &amp; Solutions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: Top Corners Rounded 16">
            <a:extLst>
              <a:ext uri="{FF2B5EF4-FFF2-40B4-BE49-F238E27FC236}">
                <a16:creationId xmlns:a16="http://schemas.microsoft.com/office/drawing/2014/main" id="{E337117C-2D7B-4E1B-BE4F-3B185CEF734B}"/>
              </a:ext>
            </a:extLst>
          </p:cNvPr>
          <p:cNvSpPr/>
          <p:nvPr/>
        </p:nvSpPr>
        <p:spPr>
          <a:xfrm rot="10800000">
            <a:off x="440242" y="4825782"/>
            <a:ext cx="3283974" cy="1173756"/>
          </a:xfrm>
          <a:prstGeom prst="round2Same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9C1C95-C8A2-46BD-965E-0AF86C220C06}"/>
              </a:ext>
            </a:extLst>
          </p:cNvPr>
          <p:cNvSpPr txBox="1"/>
          <p:nvPr/>
        </p:nvSpPr>
        <p:spPr>
          <a:xfrm>
            <a:off x="595100" y="4847121"/>
            <a:ext cx="2974258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e all relevant client and industry information and upload into Digital Explorer Workspaces.</a:t>
            </a:r>
          </a:p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stand the Client’s Digital Intent as smart connected content</a:t>
            </a:r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97B05C02-D05B-4530-AE34-E04536E1144E}"/>
              </a:ext>
            </a:extLst>
          </p:cNvPr>
          <p:cNvSpPr/>
          <p:nvPr/>
        </p:nvSpPr>
        <p:spPr>
          <a:xfrm rot="10800000">
            <a:off x="3915946" y="4825782"/>
            <a:ext cx="3283974" cy="1173756"/>
          </a:xfrm>
          <a:prstGeom prst="round2Same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2E3A70A-62CD-4D8A-98E7-2CCFF6059DB2}"/>
              </a:ext>
            </a:extLst>
          </p:cNvPr>
          <p:cNvSpPr txBox="1"/>
          <p:nvPr/>
        </p:nvSpPr>
        <p:spPr>
          <a:xfrm>
            <a:off x="3965106" y="4927912"/>
            <a:ext cx="3185652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 as a team to review and outline the DXC digital approach.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d recommendations </a:t>
            </a:r>
            <a:b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People and Solutions)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: Top Corners Rounded 23">
            <a:extLst>
              <a:ext uri="{FF2B5EF4-FFF2-40B4-BE49-F238E27FC236}">
                <a16:creationId xmlns:a16="http://schemas.microsoft.com/office/drawing/2014/main" id="{335486AB-9D5A-445F-9B92-D97AEA3D9F8E}"/>
              </a:ext>
            </a:extLst>
          </p:cNvPr>
          <p:cNvSpPr/>
          <p:nvPr/>
        </p:nvSpPr>
        <p:spPr>
          <a:xfrm rot="10800000">
            <a:off x="7401481" y="4832064"/>
            <a:ext cx="3283974" cy="1166520"/>
          </a:xfrm>
          <a:prstGeom prst="round2Same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1622F9B-3DE6-4BBE-A248-EE05517DFB05}"/>
              </a:ext>
            </a:extLst>
          </p:cNvPr>
          <p:cNvSpPr txBox="1"/>
          <p:nvPr/>
        </p:nvSpPr>
        <p:spPr>
          <a:xfrm>
            <a:off x="7481368" y="4838243"/>
            <a:ext cx="3124200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fer team thinking into a DXC Digital Blueprint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verage the power of recommendations from all other blueprints</a:t>
            </a: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3985EBEF-92F7-47FD-9330-A80DBD1D068E}"/>
              </a:ext>
            </a:extLst>
          </p:cNvPr>
          <p:cNvSpPr/>
          <p:nvPr/>
        </p:nvSpPr>
        <p:spPr>
          <a:xfrm rot="10800000">
            <a:off x="10852603" y="4825782"/>
            <a:ext cx="3283974" cy="1173757"/>
          </a:xfrm>
          <a:prstGeom prst="round2Same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6260F4B6-6EB2-4AE4-9B3B-2666E5C096D5}"/>
              </a:ext>
            </a:extLst>
          </p:cNvPr>
          <p:cNvGrpSpPr/>
          <p:nvPr/>
        </p:nvGrpSpPr>
        <p:grpSpPr>
          <a:xfrm>
            <a:off x="4444827" y="3015631"/>
            <a:ext cx="2226213" cy="1539567"/>
            <a:chOff x="4385337" y="3015631"/>
            <a:chExt cx="2226213" cy="1539567"/>
          </a:xfrm>
        </p:grpSpPr>
        <p:sp>
          <p:nvSpPr>
            <p:cNvPr id="135" name="Freeform 65">
              <a:extLst>
                <a:ext uri="{FF2B5EF4-FFF2-40B4-BE49-F238E27FC236}">
                  <a16:creationId xmlns:a16="http://schemas.microsoft.com/office/drawing/2014/main" id="{F9347957-AE27-49AC-9AB3-1A98B89B5FB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854337" y="3015631"/>
              <a:ext cx="1155381" cy="1539567"/>
            </a:xfrm>
            <a:custGeom>
              <a:avLst/>
              <a:gdLst>
                <a:gd name="T0" fmla="*/ 432 w 864"/>
                <a:gd name="T1" fmla="*/ 0 h 1152"/>
                <a:gd name="T2" fmla="*/ 0 w 864"/>
                <a:gd name="T3" fmla="*/ 432 h 1152"/>
                <a:gd name="T4" fmla="*/ 240 w 864"/>
                <a:gd name="T5" fmla="*/ 819 h 1152"/>
                <a:gd name="T6" fmla="*/ 240 w 864"/>
                <a:gd name="T7" fmla="*/ 672 h 1152"/>
                <a:gd name="T8" fmla="*/ 624 w 864"/>
                <a:gd name="T9" fmla="*/ 672 h 1152"/>
                <a:gd name="T10" fmla="*/ 624 w 864"/>
                <a:gd name="T11" fmla="*/ 819 h 1152"/>
                <a:gd name="T12" fmla="*/ 864 w 864"/>
                <a:gd name="T13" fmla="*/ 432 h 1152"/>
                <a:gd name="T14" fmla="*/ 432 w 864"/>
                <a:gd name="T15" fmla="*/ 0 h 1152"/>
                <a:gd name="T16" fmla="*/ 432 w 864"/>
                <a:gd name="T17" fmla="*/ 528 h 1152"/>
                <a:gd name="T18" fmla="*/ 336 w 864"/>
                <a:gd name="T19" fmla="*/ 336 h 1152"/>
                <a:gd name="T20" fmla="*/ 528 w 864"/>
                <a:gd name="T21" fmla="*/ 336 h 1152"/>
                <a:gd name="T22" fmla="*/ 432 w 864"/>
                <a:gd name="T23" fmla="*/ 528 h 1152"/>
                <a:gd name="T24" fmla="*/ 624 w 864"/>
                <a:gd name="T25" fmla="*/ 819 h 1152"/>
                <a:gd name="T26" fmla="*/ 624 w 864"/>
                <a:gd name="T27" fmla="*/ 960 h 1152"/>
                <a:gd name="T28" fmla="*/ 432 w 864"/>
                <a:gd name="T29" fmla="*/ 1152 h 1152"/>
                <a:gd name="T30" fmla="*/ 240 w 864"/>
                <a:gd name="T31" fmla="*/ 960 h 1152"/>
                <a:gd name="T32" fmla="*/ 240 w 864"/>
                <a:gd name="T33" fmla="*/ 819 h 1152"/>
                <a:gd name="T34" fmla="*/ 432 w 864"/>
                <a:gd name="T35" fmla="*/ 864 h 1152"/>
                <a:gd name="T36" fmla="*/ 624 w 864"/>
                <a:gd name="T37" fmla="*/ 819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" h="1152">
                  <a:moveTo>
                    <a:pt x="432" y="0"/>
                  </a:moveTo>
                  <a:cubicBezTo>
                    <a:pt x="193" y="0"/>
                    <a:pt x="0" y="193"/>
                    <a:pt x="0" y="432"/>
                  </a:cubicBezTo>
                  <a:cubicBezTo>
                    <a:pt x="0" y="602"/>
                    <a:pt x="98" y="748"/>
                    <a:pt x="240" y="819"/>
                  </a:cubicBezTo>
                  <a:cubicBezTo>
                    <a:pt x="240" y="672"/>
                    <a:pt x="240" y="672"/>
                    <a:pt x="240" y="672"/>
                  </a:cubicBezTo>
                  <a:cubicBezTo>
                    <a:pt x="624" y="672"/>
                    <a:pt x="624" y="672"/>
                    <a:pt x="624" y="672"/>
                  </a:cubicBezTo>
                  <a:cubicBezTo>
                    <a:pt x="624" y="819"/>
                    <a:pt x="624" y="819"/>
                    <a:pt x="624" y="819"/>
                  </a:cubicBezTo>
                  <a:cubicBezTo>
                    <a:pt x="766" y="748"/>
                    <a:pt x="864" y="602"/>
                    <a:pt x="864" y="432"/>
                  </a:cubicBezTo>
                  <a:cubicBezTo>
                    <a:pt x="864" y="193"/>
                    <a:pt x="671" y="0"/>
                    <a:pt x="432" y="0"/>
                  </a:cubicBezTo>
                  <a:close/>
                  <a:moveTo>
                    <a:pt x="432" y="528"/>
                  </a:moveTo>
                  <a:cubicBezTo>
                    <a:pt x="336" y="336"/>
                    <a:pt x="336" y="336"/>
                    <a:pt x="336" y="336"/>
                  </a:cubicBezTo>
                  <a:cubicBezTo>
                    <a:pt x="528" y="336"/>
                    <a:pt x="528" y="336"/>
                    <a:pt x="528" y="336"/>
                  </a:cubicBezTo>
                  <a:lnTo>
                    <a:pt x="432" y="528"/>
                  </a:lnTo>
                  <a:close/>
                  <a:moveTo>
                    <a:pt x="624" y="819"/>
                  </a:moveTo>
                  <a:cubicBezTo>
                    <a:pt x="624" y="960"/>
                    <a:pt x="624" y="960"/>
                    <a:pt x="624" y="960"/>
                  </a:cubicBezTo>
                  <a:cubicBezTo>
                    <a:pt x="624" y="1066"/>
                    <a:pt x="538" y="1152"/>
                    <a:pt x="432" y="1152"/>
                  </a:cubicBezTo>
                  <a:cubicBezTo>
                    <a:pt x="326" y="1152"/>
                    <a:pt x="240" y="1066"/>
                    <a:pt x="240" y="960"/>
                  </a:cubicBezTo>
                  <a:cubicBezTo>
                    <a:pt x="240" y="819"/>
                    <a:pt x="240" y="819"/>
                    <a:pt x="240" y="819"/>
                  </a:cubicBezTo>
                  <a:cubicBezTo>
                    <a:pt x="298" y="848"/>
                    <a:pt x="363" y="864"/>
                    <a:pt x="432" y="864"/>
                  </a:cubicBezTo>
                  <a:cubicBezTo>
                    <a:pt x="501" y="864"/>
                    <a:pt x="566" y="848"/>
                    <a:pt x="624" y="81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89">
              <a:extLst>
                <a:ext uri="{FF2B5EF4-FFF2-40B4-BE49-F238E27FC236}">
                  <a16:creationId xmlns:a16="http://schemas.microsoft.com/office/drawing/2014/main" id="{6378E62C-6527-4F4E-BFA4-088DAF8E0F3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385337" y="3302433"/>
              <a:ext cx="790335" cy="724860"/>
            </a:xfrm>
            <a:custGeom>
              <a:avLst/>
              <a:gdLst>
                <a:gd name="T0" fmla="*/ 576 w 1152"/>
                <a:gd name="T1" fmla="*/ 288 h 1056"/>
                <a:gd name="T2" fmla="*/ 768 w 1152"/>
                <a:gd name="T3" fmla="*/ 480 h 1056"/>
                <a:gd name="T4" fmla="*/ 768 w 1152"/>
                <a:gd name="T5" fmla="*/ 672 h 1056"/>
                <a:gd name="T6" fmla="*/ 576 w 1152"/>
                <a:gd name="T7" fmla="*/ 480 h 1056"/>
                <a:gd name="T8" fmla="*/ 384 w 1152"/>
                <a:gd name="T9" fmla="*/ 672 h 1056"/>
                <a:gd name="T10" fmla="*/ 384 w 1152"/>
                <a:gd name="T11" fmla="*/ 480 h 1056"/>
                <a:gd name="T12" fmla="*/ 576 w 1152"/>
                <a:gd name="T13" fmla="*/ 288 h 1056"/>
                <a:gd name="T14" fmla="*/ 720 w 1152"/>
                <a:gd name="T15" fmla="*/ 144 h 1056"/>
                <a:gd name="T16" fmla="*/ 576 w 1152"/>
                <a:gd name="T17" fmla="*/ 0 h 1056"/>
                <a:gd name="T18" fmla="*/ 432 w 1152"/>
                <a:gd name="T19" fmla="*/ 144 h 1056"/>
                <a:gd name="T20" fmla="*/ 576 w 1152"/>
                <a:gd name="T21" fmla="*/ 288 h 1056"/>
                <a:gd name="T22" fmla="*/ 720 w 1152"/>
                <a:gd name="T23" fmla="*/ 144 h 1056"/>
                <a:gd name="T24" fmla="*/ 336 w 1152"/>
                <a:gd name="T25" fmla="*/ 528 h 1056"/>
                <a:gd name="T26" fmla="*/ 192 w 1152"/>
                <a:gd name="T27" fmla="*/ 384 h 1056"/>
                <a:gd name="T28" fmla="*/ 48 w 1152"/>
                <a:gd name="T29" fmla="*/ 528 h 1056"/>
                <a:gd name="T30" fmla="*/ 192 w 1152"/>
                <a:gd name="T31" fmla="*/ 672 h 1056"/>
                <a:gd name="T32" fmla="*/ 336 w 1152"/>
                <a:gd name="T33" fmla="*/ 528 h 1056"/>
                <a:gd name="T34" fmla="*/ 328 w 1152"/>
                <a:gd name="T35" fmla="*/ 728 h 1056"/>
                <a:gd name="T36" fmla="*/ 192 w 1152"/>
                <a:gd name="T37" fmla="*/ 672 h 1056"/>
                <a:gd name="T38" fmla="*/ 0 w 1152"/>
                <a:gd name="T39" fmla="*/ 864 h 1056"/>
                <a:gd name="T40" fmla="*/ 0 w 1152"/>
                <a:gd name="T41" fmla="*/ 1056 h 1056"/>
                <a:gd name="T42" fmla="*/ 384 w 1152"/>
                <a:gd name="T43" fmla="*/ 1056 h 1056"/>
                <a:gd name="T44" fmla="*/ 384 w 1152"/>
                <a:gd name="T45" fmla="*/ 864 h 1056"/>
                <a:gd name="T46" fmla="*/ 192 w 1152"/>
                <a:gd name="T47" fmla="*/ 864 h 1056"/>
                <a:gd name="T48" fmla="*/ 328 w 1152"/>
                <a:gd name="T49" fmla="*/ 728 h 1056"/>
                <a:gd name="T50" fmla="*/ 1104 w 1152"/>
                <a:gd name="T51" fmla="*/ 528 h 1056"/>
                <a:gd name="T52" fmla="*/ 960 w 1152"/>
                <a:gd name="T53" fmla="*/ 384 h 1056"/>
                <a:gd name="T54" fmla="*/ 816 w 1152"/>
                <a:gd name="T55" fmla="*/ 528 h 1056"/>
                <a:gd name="T56" fmla="*/ 960 w 1152"/>
                <a:gd name="T57" fmla="*/ 672 h 1056"/>
                <a:gd name="T58" fmla="*/ 1104 w 1152"/>
                <a:gd name="T59" fmla="*/ 528 h 1056"/>
                <a:gd name="T60" fmla="*/ 960 w 1152"/>
                <a:gd name="T61" fmla="*/ 672 h 1056"/>
                <a:gd name="T62" fmla="*/ 824 w 1152"/>
                <a:gd name="T63" fmla="*/ 728 h 1056"/>
                <a:gd name="T64" fmla="*/ 960 w 1152"/>
                <a:gd name="T65" fmla="*/ 864 h 1056"/>
                <a:gd name="T66" fmla="*/ 768 w 1152"/>
                <a:gd name="T67" fmla="*/ 864 h 1056"/>
                <a:gd name="T68" fmla="*/ 768 w 1152"/>
                <a:gd name="T69" fmla="*/ 1056 h 1056"/>
                <a:gd name="T70" fmla="*/ 1152 w 1152"/>
                <a:gd name="T71" fmla="*/ 1056 h 1056"/>
                <a:gd name="T72" fmla="*/ 1152 w 1152"/>
                <a:gd name="T73" fmla="*/ 864 h 1056"/>
                <a:gd name="T74" fmla="*/ 960 w 1152"/>
                <a:gd name="T75" fmla="*/ 672 h 1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52" h="1056">
                  <a:moveTo>
                    <a:pt x="576" y="288"/>
                  </a:moveTo>
                  <a:cubicBezTo>
                    <a:pt x="682" y="288"/>
                    <a:pt x="768" y="374"/>
                    <a:pt x="768" y="480"/>
                  </a:cubicBezTo>
                  <a:cubicBezTo>
                    <a:pt x="768" y="672"/>
                    <a:pt x="768" y="672"/>
                    <a:pt x="768" y="672"/>
                  </a:cubicBezTo>
                  <a:cubicBezTo>
                    <a:pt x="576" y="480"/>
                    <a:pt x="576" y="480"/>
                    <a:pt x="576" y="480"/>
                  </a:cubicBezTo>
                  <a:cubicBezTo>
                    <a:pt x="384" y="672"/>
                    <a:pt x="384" y="672"/>
                    <a:pt x="384" y="672"/>
                  </a:cubicBezTo>
                  <a:cubicBezTo>
                    <a:pt x="384" y="480"/>
                    <a:pt x="384" y="480"/>
                    <a:pt x="384" y="480"/>
                  </a:cubicBezTo>
                  <a:cubicBezTo>
                    <a:pt x="384" y="374"/>
                    <a:pt x="470" y="288"/>
                    <a:pt x="576" y="288"/>
                  </a:cubicBezTo>
                  <a:close/>
                  <a:moveTo>
                    <a:pt x="720" y="144"/>
                  </a:moveTo>
                  <a:cubicBezTo>
                    <a:pt x="720" y="64"/>
                    <a:pt x="656" y="0"/>
                    <a:pt x="576" y="0"/>
                  </a:cubicBezTo>
                  <a:cubicBezTo>
                    <a:pt x="496" y="0"/>
                    <a:pt x="432" y="64"/>
                    <a:pt x="432" y="144"/>
                  </a:cubicBezTo>
                  <a:cubicBezTo>
                    <a:pt x="432" y="224"/>
                    <a:pt x="496" y="288"/>
                    <a:pt x="576" y="288"/>
                  </a:cubicBezTo>
                  <a:cubicBezTo>
                    <a:pt x="656" y="288"/>
                    <a:pt x="720" y="224"/>
                    <a:pt x="720" y="144"/>
                  </a:cubicBezTo>
                  <a:close/>
                  <a:moveTo>
                    <a:pt x="336" y="528"/>
                  </a:moveTo>
                  <a:cubicBezTo>
                    <a:pt x="336" y="448"/>
                    <a:pt x="272" y="384"/>
                    <a:pt x="192" y="384"/>
                  </a:cubicBezTo>
                  <a:cubicBezTo>
                    <a:pt x="112" y="384"/>
                    <a:pt x="48" y="448"/>
                    <a:pt x="48" y="528"/>
                  </a:cubicBezTo>
                  <a:cubicBezTo>
                    <a:pt x="48" y="608"/>
                    <a:pt x="112" y="672"/>
                    <a:pt x="192" y="672"/>
                  </a:cubicBezTo>
                  <a:cubicBezTo>
                    <a:pt x="272" y="672"/>
                    <a:pt x="336" y="608"/>
                    <a:pt x="336" y="528"/>
                  </a:cubicBezTo>
                  <a:close/>
                  <a:moveTo>
                    <a:pt x="328" y="728"/>
                  </a:moveTo>
                  <a:cubicBezTo>
                    <a:pt x="293" y="693"/>
                    <a:pt x="245" y="672"/>
                    <a:pt x="192" y="672"/>
                  </a:cubicBezTo>
                  <a:cubicBezTo>
                    <a:pt x="86" y="672"/>
                    <a:pt x="0" y="758"/>
                    <a:pt x="0" y="864"/>
                  </a:cubicBezTo>
                  <a:cubicBezTo>
                    <a:pt x="0" y="1056"/>
                    <a:pt x="0" y="1056"/>
                    <a:pt x="0" y="1056"/>
                  </a:cubicBezTo>
                  <a:cubicBezTo>
                    <a:pt x="384" y="1056"/>
                    <a:pt x="384" y="1056"/>
                    <a:pt x="384" y="1056"/>
                  </a:cubicBezTo>
                  <a:cubicBezTo>
                    <a:pt x="384" y="864"/>
                    <a:pt x="384" y="864"/>
                    <a:pt x="384" y="864"/>
                  </a:cubicBezTo>
                  <a:cubicBezTo>
                    <a:pt x="192" y="864"/>
                    <a:pt x="192" y="864"/>
                    <a:pt x="192" y="864"/>
                  </a:cubicBezTo>
                  <a:lnTo>
                    <a:pt x="328" y="728"/>
                  </a:lnTo>
                  <a:close/>
                  <a:moveTo>
                    <a:pt x="1104" y="528"/>
                  </a:moveTo>
                  <a:cubicBezTo>
                    <a:pt x="1104" y="448"/>
                    <a:pt x="1040" y="384"/>
                    <a:pt x="960" y="384"/>
                  </a:cubicBezTo>
                  <a:cubicBezTo>
                    <a:pt x="880" y="384"/>
                    <a:pt x="816" y="448"/>
                    <a:pt x="816" y="528"/>
                  </a:cubicBezTo>
                  <a:cubicBezTo>
                    <a:pt x="816" y="608"/>
                    <a:pt x="880" y="672"/>
                    <a:pt x="960" y="672"/>
                  </a:cubicBezTo>
                  <a:cubicBezTo>
                    <a:pt x="1040" y="672"/>
                    <a:pt x="1104" y="608"/>
                    <a:pt x="1104" y="528"/>
                  </a:cubicBezTo>
                  <a:close/>
                  <a:moveTo>
                    <a:pt x="960" y="672"/>
                  </a:moveTo>
                  <a:cubicBezTo>
                    <a:pt x="907" y="672"/>
                    <a:pt x="859" y="693"/>
                    <a:pt x="824" y="728"/>
                  </a:cubicBezTo>
                  <a:cubicBezTo>
                    <a:pt x="960" y="864"/>
                    <a:pt x="960" y="864"/>
                    <a:pt x="960" y="864"/>
                  </a:cubicBezTo>
                  <a:cubicBezTo>
                    <a:pt x="768" y="864"/>
                    <a:pt x="768" y="864"/>
                    <a:pt x="768" y="864"/>
                  </a:cubicBezTo>
                  <a:cubicBezTo>
                    <a:pt x="768" y="1056"/>
                    <a:pt x="768" y="1056"/>
                    <a:pt x="768" y="1056"/>
                  </a:cubicBezTo>
                  <a:cubicBezTo>
                    <a:pt x="1152" y="1056"/>
                    <a:pt x="1152" y="1056"/>
                    <a:pt x="1152" y="1056"/>
                  </a:cubicBezTo>
                  <a:cubicBezTo>
                    <a:pt x="1152" y="864"/>
                    <a:pt x="1152" y="864"/>
                    <a:pt x="1152" y="864"/>
                  </a:cubicBezTo>
                  <a:cubicBezTo>
                    <a:pt x="1152" y="758"/>
                    <a:pt x="1066" y="672"/>
                    <a:pt x="960" y="6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4AE645A1-EE23-47DE-939A-BAE869C883A2}"/>
                </a:ext>
              </a:extLst>
            </p:cNvPr>
            <p:cNvGrpSpPr/>
            <p:nvPr/>
          </p:nvGrpSpPr>
          <p:grpSpPr>
            <a:xfrm>
              <a:off x="5688383" y="3242226"/>
              <a:ext cx="923167" cy="845275"/>
              <a:chOff x="1921047" y="2009393"/>
              <a:chExt cx="3929255" cy="3597728"/>
            </a:xfrm>
          </p:grpSpPr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77847027-2466-417F-8D2E-B458B6A6EE37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041815" y="3371315"/>
                <a:ext cx="1001804" cy="23145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5342F6E2-0129-4E69-B0A1-B9C9DFC44495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V="1">
                <a:off x="2398973" y="4215060"/>
                <a:ext cx="1021929" cy="1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5EB6D4AE-B2FA-4F9F-9979-3A96198C6423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 flipV="1">
                <a:off x="3629328" y="3600560"/>
                <a:ext cx="10894" cy="1019415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4FB333DF-635D-4EEB-B413-F013FFD4D2AF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>
                <a:off x="3197930" y="2233395"/>
                <a:ext cx="744193" cy="963096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8FC61F9D-93A8-4DDA-85EC-7C2BA2B5FB2E}"/>
                  </a:ext>
                </a:extLst>
              </p:cNvPr>
              <p:cNvSpPr/>
              <p:nvPr/>
            </p:nvSpPr>
            <p:spPr>
              <a:xfrm rot="2248319">
                <a:off x="2891462" y="4103698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9600E1BD-F3D7-4828-9E86-973C692B7225}"/>
                  </a:ext>
                </a:extLst>
              </p:cNvPr>
              <p:cNvSpPr/>
              <p:nvPr/>
            </p:nvSpPr>
            <p:spPr>
              <a:xfrm rot="2248319">
                <a:off x="4471581" y="2972869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7C4CAD82-0BFE-454E-B096-BCF425EE56BE}"/>
                  </a:ext>
                </a:extLst>
              </p:cNvPr>
              <p:cNvSpPr/>
              <p:nvPr/>
            </p:nvSpPr>
            <p:spPr>
              <a:xfrm rot="2248319">
                <a:off x="4106925" y="4050847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2EF9E29F-18DF-4A55-9CAE-5A5813EBF6C8}"/>
                  </a:ext>
                </a:extLst>
              </p:cNvPr>
              <p:cNvSpPr/>
              <p:nvPr/>
            </p:nvSpPr>
            <p:spPr>
              <a:xfrm rot="2248319">
                <a:off x="2983156" y="3505997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978EC795-04C6-4FE1-B6D8-3FA8D00E5A0C}"/>
                  </a:ext>
                </a:extLst>
              </p:cNvPr>
              <p:cNvSpPr/>
              <p:nvPr/>
            </p:nvSpPr>
            <p:spPr>
              <a:xfrm rot="2248319">
                <a:off x="3265335" y="2009393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C21D0693-AAB5-480A-AEB7-C65A7962AB10}"/>
                  </a:ext>
                </a:extLst>
              </p:cNvPr>
              <p:cNvSpPr/>
              <p:nvPr/>
            </p:nvSpPr>
            <p:spPr>
              <a:xfrm rot="2248319">
                <a:off x="4822564" y="4649470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E8E7244F-D6FE-4FDA-B9FA-E7027DC3AC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82605" y="3215261"/>
                <a:ext cx="377599" cy="1712581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B8FD78F2-D3AC-46A8-9A0C-6607C933B52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039117" y="3468335"/>
                <a:ext cx="377917" cy="1387074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168EEA8-B543-435F-B0E5-C2E9DCC176E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2775" y="4298273"/>
                <a:ext cx="135921" cy="892483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882905A6-6871-4974-B1E9-EC9485098B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56205" y="3774781"/>
                <a:ext cx="1058672" cy="508228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E9718F08-F67F-4C2A-88BE-87808141E8D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34131" y="3719338"/>
                <a:ext cx="863960" cy="18892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A0E5200-92E2-44B7-965C-9078BA7FF38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49174" y="2225947"/>
                <a:ext cx="527590" cy="753706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C2756B57-16D5-45B4-AC4F-5B469ACE0C3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186689" y="2502476"/>
                <a:ext cx="504958" cy="694162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230E596C-7BEC-4493-AA09-8C9201FFE0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650346" y="3189423"/>
                <a:ext cx="783590" cy="267001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103EA054-6C86-46EB-AF91-AAA8222E47B9}"/>
                  </a:ext>
                </a:extLst>
              </p:cNvPr>
              <p:cNvSpPr/>
              <p:nvPr/>
            </p:nvSpPr>
            <p:spPr>
              <a:xfrm rot="2248319">
                <a:off x="2548891" y="2540775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31AE4768-6FCD-4700-8221-F1FE2D50F4D0}"/>
                  </a:ext>
                </a:extLst>
              </p:cNvPr>
              <p:cNvSpPr/>
              <p:nvPr/>
            </p:nvSpPr>
            <p:spPr>
              <a:xfrm rot="2248319">
                <a:off x="1921047" y="3359826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161A0072-67EB-4829-939F-A0955E0C3DBD}"/>
                  </a:ext>
                </a:extLst>
              </p:cNvPr>
              <p:cNvSpPr/>
              <p:nvPr/>
            </p:nvSpPr>
            <p:spPr>
              <a:xfrm rot="2248319">
                <a:off x="3517009" y="3282887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5C239F20-8E8E-4FC0-9365-75392A70F922}"/>
                  </a:ext>
                </a:extLst>
              </p:cNvPr>
              <p:cNvSpPr/>
              <p:nvPr/>
            </p:nvSpPr>
            <p:spPr>
              <a:xfrm rot="2248319">
                <a:off x="5017571" y="3051970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65B08FC5-455E-44B1-B730-C784253CAEE1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815385" y="2545326"/>
                <a:ext cx="528599" cy="1166483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4C0BF205-2DC5-457C-8CCB-E53985FE205F}"/>
                  </a:ext>
                </a:extLst>
              </p:cNvPr>
              <p:cNvSpPr/>
              <p:nvPr/>
            </p:nvSpPr>
            <p:spPr>
              <a:xfrm rot="2248319">
                <a:off x="3809930" y="2126252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E1BB34D3-558B-43B8-B465-B606810DEF88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184461" y="4855409"/>
                <a:ext cx="1121681" cy="0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1F275BAA-09C2-45BB-85A1-5EE5F65F84DF}"/>
                  </a:ext>
                </a:extLst>
              </p:cNvPr>
              <p:cNvSpPr/>
              <p:nvPr/>
            </p:nvSpPr>
            <p:spPr>
              <a:xfrm rot="2248319">
                <a:off x="3766410" y="4774390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D01C13AD-D871-43D6-BC2B-195D844827F0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>
                <a:off x="4188701" y="3073759"/>
                <a:ext cx="1017209" cy="1039076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099696F2-A94C-46A1-8360-4A88E990951A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4655080" y="3564669"/>
                <a:ext cx="34841" cy="1793987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</p:grp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C799850D-2475-4C9F-80F6-849C727E1A39}"/>
              </a:ext>
            </a:extLst>
          </p:cNvPr>
          <p:cNvGrpSpPr/>
          <p:nvPr/>
        </p:nvGrpSpPr>
        <p:grpSpPr>
          <a:xfrm>
            <a:off x="4260469" y="2621110"/>
            <a:ext cx="2594928" cy="2048480"/>
            <a:chOff x="8406580" y="618359"/>
            <a:chExt cx="1484672" cy="1172025"/>
          </a:xfrm>
        </p:grpSpPr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E04A01A4-6CFB-4E9A-9EC6-5A0941F4ECF3}"/>
                </a:ext>
              </a:extLst>
            </p:cNvPr>
            <p:cNvSpPr/>
            <p:nvPr/>
          </p:nvSpPr>
          <p:spPr>
            <a:xfrm>
              <a:off x="8406581" y="618359"/>
              <a:ext cx="1484671" cy="1172025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7D47CFCE-644A-45F0-B581-A2CFBF393FDD}"/>
                </a:ext>
              </a:extLst>
            </p:cNvPr>
            <p:cNvSpPr/>
            <p:nvPr/>
          </p:nvSpPr>
          <p:spPr>
            <a:xfrm>
              <a:off x="8406580" y="618359"/>
              <a:ext cx="1484671" cy="137946"/>
            </a:xfrm>
            <a:prstGeom prst="rect">
              <a:avLst/>
            </a:prstGeom>
            <a:solidFill>
              <a:schemeClr val="tx1"/>
            </a:solidFill>
            <a:ln w="190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E206087B-DB1E-418B-8F7F-761844FAD549}"/>
                </a:ext>
              </a:extLst>
            </p:cNvPr>
            <p:cNvGrpSpPr/>
            <p:nvPr/>
          </p:nvGrpSpPr>
          <p:grpSpPr>
            <a:xfrm>
              <a:off x="9734550" y="658772"/>
              <a:ext cx="90794" cy="66675"/>
              <a:chOff x="10358438" y="592532"/>
              <a:chExt cx="90794" cy="66675"/>
            </a:xfrm>
          </p:grpSpPr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610FE9B1-83A7-4096-A48A-B974AD5FF6B9}"/>
                  </a:ext>
                </a:extLst>
              </p:cNvPr>
              <p:cNvCxnSpPr/>
              <p:nvPr/>
            </p:nvCxnSpPr>
            <p:spPr>
              <a:xfrm>
                <a:off x="10358438" y="592532"/>
                <a:ext cx="90794" cy="0"/>
              </a:xfrm>
              <a:prstGeom prst="line">
                <a:avLst/>
              </a:prstGeom>
              <a:ln w="6350" cap="sq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FBF640EF-5B4B-41E6-A5A0-737A4AB32297}"/>
                  </a:ext>
                </a:extLst>
              </p:cNvPr>
              <p:cNvCxnSpPr/>
              <p:nvPr/>
            </p:nvCxnSpPr>
            <p:spPr>
              <a:xfrm>
                <a:off x="10358438" y="625870"/>
                <a:ext cx="90794" cy="0"/>
              </a:xfrm>
              <a:prstGeom prst="line">
                <a:avLst/>
              </a:prstGeom>
              <a:ln w="6350" cap="sq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342765F2-074E-47DB-93A5-6032B7499A7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58438" y="659207"/>
                <a:ext cx="90794" cy="0"/>
              </a:xfrm>
              <a:prstGeom prst="line">
                <a:avLst/>
              </a:prstGeom>
              <a:ln w="6350" cap="sq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</p:grpSp>
      <p:sp>
        <p:nvSpPr>
          <p:cNvPr id="12" name="Freeform 77">
            <a:extLst>
              <a:ext uri="{FF2B5EF4-FFF2-40B4-BE49-F238E27FC236}">
                <a16:creationId xmlns:a16="http://schemas.microsoft.com/office/drawing/2014/main" id="{F19A2AD3-A21D-4A43-BC27-52921F5E736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403043" y="2805567"/>
            <a:ext cx="399952" cy="363665"/>
          </a:xfrm>
          <a:custGeom>
            <a:avLst/>
            <a:gdLst>
              <a:gd name="T0" fmla="*/ 864 w 1056"/>
              <a:gd name="T1" fmla="*/ 480 h 960"/>
              <a:gd name="T2" fmla="*/ 1056 w 1056"/>
              <a:gd name="T3" fmla="*/ 480 h 960"/>
              <a:gd name="T4" fmla="*/ 1056 w 1056"/>
              <a:gd name="T5" fmla="*/ 768 h 960"/>
              <a:gd name="T6" fmla="*/ 864 w 1056"/>
              <a:gd name="T7" fmla="*/ 960 h 960"/>
              <a:gd name="T8" fmla="*/ 192 w 1056"/>
              <a:gd name="T9" fmla="*/ 960 h 960"/>
              <a:gd name="T10" fmla="*/ 0 w 1056"/>
              <a:gd name="T11" fmla="*/ 768 h 960"/>
              <a:gd name="T12" fmla="*/ 0 w 1056"/>
              <a:gd name="T13" fmla="*/ 0 h 960"/>
              <a:gd name="T14" fmla="*/ 864 w 1056"/>
              <a:gd name="T15" fmla="*/ 0 h 960"/>
              <a:gd name="T16" fmla="*/ 864 w 1056"/>
              <a:gd name="T17" fmla="*/ 480 h 960"/>
              <a:gd name="T18" fmla="*/ 480 w 1056"/>
              <a:gd name="T19" fmla="*/ 96 h 960"/>
              <a:gd name="T20" fmla="*/ 96 w 1056"/>
              <a:gd name="T21" fmla="*/ 96 h 960"/>
              <a:gd name="T22" fmla="*/ 96 w 1056"/>
              <a:gd name="T23" fmla="*/ 384 h 960"/>
              <a:gd name="T24" fmla="*/ 480 w 1056"/>
              <a:gd name="T25" fmla="*/ 384 h 960"/>
              <a:gd name="T26" fmla="*/ 480 w 1056"/>
              <a:gd name="T27" fmla="*/ 96 h 960"/>
              <a:gd name="T28" fmla="*/ 768 w 1056"/>
              <a:gd name="T29" fmla="*/ 96 h 960"/>
              <a:gd name="T30" fmla="*/ 576 w 1056"/>
              <a:gd name="T31" fmla="*/ 96 h 960"/>
              <a:gd name="T32" fmla="*/ 576 w 1056"/>
              <a:gd name="T33" fmla="*/ 192 h 960"/>
              <a:gd name="T34" fmla="*/ 768 w 1056"/>
              <a:gd name="T35" fmla="*/ 192 h 960"/>
              <a:gd name="T36" fmla="*/ 768 w 1056"/>
              <a:gd name="T37" fmla="*/ 96 h 960"/>
              <a:gd name="T38" fmla="*/ 768 w 1056"/>
              <a:gd name="T39" fmla="*/ 288 h 960"/>
              <a:gd name="T40" fmla="*/ 576 w 1056"/>
              <a:gd name="T41" fmla="*/ 288 h 960"/>
              <a:gd name="T42" fmla="*/ 576 w 1056"/>
              <a:gd name="T43" fmla="*/ 384 h 960"/>
              <a:gd name="T44" fmla="*/ 768 w 1056"/>
              <a:gd name="T45" fmla="*/ 384 h 960"/>
              <a:gd name="T46" fmla="*/ 768 w 1056"/>
              <a:gd name="T47" fmla="*/ 288 h 960"/>
              <a:gd name="T48" fmla="*/ 768 w 1056"/>
              <a:gd name="T49" fmla="*/ 480 h 960"/>
              <a:gd name="T50" fmla="*/ 96 w 1056"/>
              <a:gd name="T51" fmla="*/ 480 h 960"/>
              <a:gd name="T52" fmla="*/ 96 w 1056"/>
              <a:gd name="T53" fmla="*/ 576 h 960"/>
              <a:gd name="T54" fmla="*/ 768 w 1056"/>
              <a:gd name="T55" fmla="*/ 576 h 960"/>
              <a:gd name="T56" fmla="*/ 768 w 1056"/>
              <a:gd name="T57" fmla="*/ 480 h 960"/>
              <a:gd name="T58" fmla="*/ 768 w 1056"/>
              <a:gd name="T59" fmla="*/ 672 h 960"/>
              <a:gd name="T60" fmla="*/ 96 w 1056"/>
              <a:gd name="T61" fmla="*/ 672 h 960"/>
              <a:gd name="T62" fmla="*/ 96 w 1056"/>
              <a:gd name="T63" fmla="*/ 768 h 960"/>
              <a:gd name="T64" fmla="*/ 768 w 1056"/>
              <a:gd name="T65" fmla="*/ 768 h 960"/>
              <a:gd name="T66" fmla="*/ 768 w 1056"/>
              <a:gd name="T67" fmla="*/ 672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56" h="960">
                <a:moveTo>
                  <a:pt x="864" y="480"/>
                </a:moveTo>
                <a:cubicBezTo>
                  <a:pt x="1056" y="480"/>
                  <a:pt x="1056" y="480"/>
                  <a:pt x="1056" y="480"/>
                </a:cubicBezTo>
                <a:cubicBezTo>
                  <a:pt x="1056" y="768"/>
                  <a:pt x="1056" y="768"/>
                  <a:pt x="1056" y="768"/>
                </a:cubicBezTo>
                <a:cubicBezTo>
                  <a:pt x="1056" y="874"/>
                  <a:pt x="970" y="960"/>
                  <a:pt x="864" y="960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86" y="960"/>
                  <a:pt x="0" y="874"/>
                  <a:pt x="0" y="768"/>
                </a:cubicBezTo>
                <a:cubicBezTo>
                  <a:pt x="0" y="0"/>
                  <a:pt x="0" y="0"/>
                  <a:pt x="0" y="0"/>
                </a:cubicBezTo>
                <a:cubicBezTo>
                  <a:pt x="864" y="0"/>
                  <a:pt x="864" y="0"/>
                  <a:pt x="864" y="0"/>
                </a:cubicBezTo>
                <a:lnTo>
                  <a:pt x="864" y="480"/>
                </a:lnTo>
                <a:close/>
                <a:moveTo>
                  <a:pt x="480" y="96"/>
                </a:moveTo>
                <a:cubicBezTo>
                  <a:pt x="96" y="96"/>
                  <a:pt x="96" y="96"/>
                  <a:pt x="96" y="96"/>
                </a:cubicBezTo>
                <a:cubicBezTo>
                  <a:pt x="96" y="384"/>
                  <a:pt x="96" y="384"/>
                  <a:pt x="96" y="384"/>
                </a:cubicBezTo>
                <a:cubicBezTo>
                  <a:pt x="480" y="384"/>
                  <a:pt x="480" y="384"/>
                  <a:pt x="480" y="384"/>
                </a:cubicBezTo>
                <a:lnTo>
                  <a:pt x="480" y="96"/>
                </a:lnTo>
                <a:close/>
                <a:moveTo>
                  <a:pt x="768" y="96"/>
                </a:moveTo>
                <a:cubicBezTo>
                  <a:pt x="576" y="96"/>
                  <a:pt x="576" y="96"/>
                  <a:pt x="576" y="96"/>
                </a:cubicBezTo>
                <a:cubicBezTo>
                  <a:pt x="576" y="192"/>
                  <a:pt x="576" y="192"/>
                  <a:pt x="576" y="192"/>
                </a:cubicBezTo>
                <a:cubicBezTo>
                  <a:pt x="768" y="192"/>
                  <a:pt x="768" y="192"/>
                  <a:pt x="768" y="192"/>
                </a:cubicBezTo>
                <a:lnTo>
                  <a:pt x="768" y="96"/>
                </a:lnTo>
                <a:close/>
                <a:moveTo>
                  <a:pt x="768" y="288"/>
                </a:moveTo>
                <a:cubicBezTo>
                  <a:pt x="576" y="288"/>
                  <a:pt x="576" y="288"/>
                  <a:pt x="576" y="288"/>
                </a:cubicBezTo>
                <a:cubicBezTo>
                  <a:pt x="576" y="384"/>
                  <a:pt x="576" y="384"/>
                  <a:pt x="576" y="384"/>
                </a:cubicBezTo>
                <a:cubicBezTo>
                  <a:pt x="768" y="384"/>
                  <a:pt x="768" y="384"/>
                  <a:pt x="768" y="384"/>
                </a:cubicBezTo>
                <a:lnTo>
                  <a:pt x="768" y="288"/>
                </a:lnTo>
                <a:close/>
                <a:moveTo>
                  <a:pt x="768" y="480"/>
                </a:moveTo>
                <a:cubicBezTo>
                  <a:pt x="96" y="480"/>
                  <a:pt x="96" y="480"/>
                  <a:pt x="96" y="480"/>
                </a:cubicBezTo>
                <a:cubicBezTo>
                  <a:pt x="96" y="576"/>
                  <a:pt x="96" y="576"/>
                  <a:pt x="96" y="576"/>
                </a:cubicBezTo>
                <a:cubicBezTo>
                  <a:pt x="768" y="576"/>
                  <a:pt x="768" y="576"/>
                  <a:pt x="768" y="576"/>
                </a:cubicBezTo>
                <a:lnTo>
                  <a:pt x="768" y="480"/>
                </a:lnTo>
                <a:close/>
                <a:moveTo>
                  <a:pt x="768" y="672"/>
                </a:moveTo>
                <a:cubicBezTo>
                  <a:pt x="96" y="672"/>
                  <a:pt x="96" y="672"/>
                  <a:pt x="96" y="672"/>
                </a:cubicBezTo>
                <a:cubicBezTo>
                  <a:pt x="96" y="768"/>
                  <a:pt x="96" y="768"/>
                  <a:pt x="96" y="768"/>
                </a:cubicBezTo>
                <a:cubicBezTo>
                  <a:pt x="768" y="768"/>
                  <a:pt x="768" y="768"/>
                  <a:pt x="768" y="768"/>
                </a:cubicBezTo>
                <a:lnTo>
                  <a:pt x="768" y="6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Freeform 77">
            <a:extLst>
              <a:ext uri="{FF2B5EF4-FFF2-40B4-BE49-F238E27FC236}">
                <a16:creationId xmlns:a16="http://schemas.microsoft.com/office/drawing/2014/main" id="{9B00FB08-BBF1-4114-9E7E-0CC834778BE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72481" y="2805568"/>
            <a:ext cx="399952" cy="363665"/>
          </a:xfrm>
          <a:custGeom>
            <a:avLst/>
            <a:gdLst>
              <a:gd name="T0" fmla="*/ 864 w 1056"/>
              <a:gd name="T1" fmla="*/ 480 h 960"/>
              <a:gd name="T2" fmla="*/ 1056 w 1056"/>
              <a:gd name="T3" fmla="*/ 480 h 960"/>
              <a:gd name="T4" fmla="*/ 1056 w 1056"/>
              <a:gd name="T5" fmla="*/ 768 h 960"/>
              <a:gd name="T6" fmla="*/ 864 w 1056"/>
              <a:gd name="T7" fmla="*/ 960 h 960"/>
              <a:gd name="T8" fmla="*/ 192 w 1056"/>
              <a:gd name="T9" fmla="*/ 960 h 960"/>
              <a:gd name="T10" fmla="*/ 0 w 1056"/>
              <a:gd name="T11" fmla="*/ 768 h 960"/>
              <a:gd name="T12" fmla="*/ 0 w 1056"/>
              <a:gd name="T13" fmla="*/ 0 h 960"/>
              <a:gd name="T14" fmla="*/ 864 w 1056"/>
              <a:gd name="T15" fmla="*/ 0 h 960"/>
              <a:gd name="T16" fmla="*/ 864 w 1056"/>
              <a:gd name="T17" fmla="*/ 480 h 960"/>
              <a:gd name="T18" fmla="*/ 480 w 1056"/>
              <a:gd name="T19" fmla="*/ 96 h 960"/>
              <a:gd name="T20" fmla="*/ 96 w 1056"/>
              <a:gd name="T21" fmla="*/ 96 h 960"/>
              <a:gd name="T22" fmla="*/ 96 w 1056"/>
              <a:gd name="T23" fmla="*/ 384 h 960"/>
              <a:gd name="T24" fmla="*/ 480 w 1056"/>
              <a:gd name="T25" fmla="*/ 384 h 960"/>
              <a:gd name="T26" fmla="*/ 480 w 1056"/>
              <a:gd name="T27" fmla="*/ 96 h 960"/>
              <a:gd name="T28" fmla="*/ 768 w 1056"/>
              <a:gd name="T29" fmla="*/ 96 h 960"/>
              <a:gd name="T30" fmla="*/ 576 w 1056"/>
              <a:gd name="T31" fmla="*/ 96 h 960"/>
              <a:gd name="T32" fmla="*/ 576 w 1056"/>
              <a:gd name="T33" fmla="*/ 192 h 960"/>
              <a:gd name="T34" fmla="*/ 768 w 1056"/>
              <a:gd name="T35" fmla="*/ 192 h 960"/>
              <a:gd name="T36" fmla="*/ 768 w 1056"/>
              <a:gd name="T37" fmla="*/ 96 h 960"/>
              <a:gd name="T38" fmla="*/ 768 w 1056"/>
              <a:gd name="T39" fmla="*/ 288 h 960"/>
              <a:gd name="T40" fmla="*/ 576 w 1056"/>
              <a:gd name="T41" fmla="*/ 288 h 960"/>
              <a:gd name="T42" fmla="*/ 576 w 1056"/>
              <a:gd name="T43" fmla="*/ 384 h 960"/>
              <a:gd name="T44" fmla="*/ 768 w 1056"/>
              <a:gd name="T45" fmla="*/ 384 h 960"/>
              <a:gd name="T46" fmla="*/ 768 w 1056"/>
              <a:gd name="T47" fmla="*/ 288 h 960"/>
              <a:gd name="T48" fmla="*/ 768 w 1056"/>
              <a:gd name="T49" fmla="*/ 480 h 960"/>
              <a:gd name="T50" fmla="*/ 96 w 1056"/>
              <a:gd name="T51" fmla="*/ 480 h 960"/>
              <a:gd name="T52" fmla="*/ 96 w 1056"/>
              <a:gd name="T53" fmla="*/ 576 h 960"/>
              <a:gd name="T54" fmla="*/ 768 w 1056"/>
              <a:gd name="T55" fmla="*/ 576 h 960"/>
              <a:gd name="T56" fmla="*/ 768 w 1056"/>
              <a:gd name="T57" fmla="*/ 480 h 960"/>
              <a:gd name="T58" fmla="*/ 768 w 1056"/>
              <a:gd name="T59" fmla="*/ 672 h 960"/>
              <a:gd name="T60" fmla="*/ 96 w 1056"/>
              <a:gd name="T61" fmla="*/ 672 h 960"/>
              <a:gd name="T62" fmla="*/ 96 w 1056"/>
              <a:gd name="T63" fmla="*/ 768 h 960"/>
              <a:gd name="T64" fmla="*/ 768 w 1056"/>
              <a:gd name="T65" fmla="*/ 768 h 960"/>
              <a:gd name="T66" fmla="*/ 768 w 1056"/>
              <a:gd name="T67" fmla="*/ 672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56" h="960">
                <a:moveTo>
                  <a:pt x="864" y="480"/>
                </a:moveTo>
                <a:cubicBezTo>
                  <a:pt x="1056" y="480"/>
                  <a:pt x="1056" y="480"/>
                  <a:pt x="1056" y="480"/>
                </a:cubicBezTo>
                <a:cubicBezTo>
                  <a:pt x="1056" y="768"/>
                  <a:pt x="1056" y="768"/>
                  <a:pt x="1056" y="768"/>
                </a:cubicBezTo>
                <a:cubicBezTo>
                  <a:pt x="1056" y="874"/>
                  <a:pt x="970" y="960"/>
                  <a:pt x="864" y="960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86" y="960"/>
                  <a:pt x="0" y="874"/>
                  <a:pt x="0" y="768"/>
                </a:cubicBezTo>
                <a:cubicBezTo>
                  <a:pt x="0" y="0"/>
                  <a:pt x="0" y="0"/>
                  <a:pt x="0" y="0"/>
                </a:cubicBezTo>
                <a:cubicBezTo>
                  <a:pt x="864" y="0"/>
                  <a:pt x="864" y="0"/>
                  <a:pt x="864" y="0"/>
                </a:cubicBezTo>
                <a:lnTo>
                  <a:pt x="864" y="480"/>
                </a:lnTo>
                <a:close/>
                <a:moveTo>
                  <a:pt x="480" y="96"/>
                </a:moveTo>
                <a:cubicBezTo>
                  <a:pt x="96" y="96"/>
                  <a:pt x="96" y="96"/>
                  <a:pt x="96" y="96"/>
                </a:cubicBezTo>
                <a:cubicBezTo>
                  <a:pt x="96" y="384"/>
                  <a:pt x="96" y="384"/>
                  <a:pt x="96" y="384"/>
                </a:cubicBezTo>
                <a:cubicBezTo>
                  <a:pt x="480" y="384"/>
                  <a:pt x="480" y="384"/>
                  <a:pt x="480" y="384"/>
                </a:cubicBezTo>
                <a:lnTo>
                  <a:pt x="480" y="96"/>
                </a:lnTo>
                <a:close/>
                <a:moveTo>
                  <a:pt x="768" y="96"/>
                </a:moveTo>
                <a:cubicBezTo>
                  <a:pt x="576" y="96"/>
                  <a:pt x="576" y="96"/>
                  <a:pt x="576" y="96"/>
                </a:cubicBezTo>
                <a:cubicBezTo>
                  <a:pt x="576" y="192"/>
                  <a:pt x="576" y="192"/>
                  <a:pt x="576" y="192"/>
                </a:cubicBezTo>
                <a:cubicBezTo>
                  <a:pt x="768" y="192"/>
                  <a:pt x="768" y="192"/>
                  <a:pt x="768" y="192"/>
                </a:cubicBezTo>
                <a:lnTo>
                  <a:pt x="768" y="96"/>
                </a:lnTo>
                <a:close/>
                <a:moveTo>
                  <a:pt x="768" y="288"/>
                </a:moveTo>
                <a:cubicBezTo>
                  <a:pt x="576" y="288"/>
                  <a:pt x="576" y="288"/>
                  <a:pt x="576" y="288"/>
                </a:cubicBezTo>
                <a:cubicBezTo>
                  <a:pt x="576" y="384"/>
                  <a:pt x="576" y="384"/>
                  <a:pt x="576" y="384"/>
                </a:cubicBezTo>
                <a:cubicBezTo>
                  <a:pt x="768" y="384"/>
                  <a:pt x="768" y="384"/>
                  <a:pt x="768" y="384"/>
                </a:cubicBezTo>
                <a:lnTo>
                  <a:pt x="768" y="288"/>
                </a:lnTo>
                <a:close/>
                <a:moveTo>
                  <a:pt x="768" y="480"/>
                </a:moveTo>
                <a:cubicBezTo>
                  <a:pt x="96" y="480"/>
                  <a:pt x="96" y="480"/>
                  <a:pt x="96" y="480"/>
                </a:cubicBezTo>
                <a:cubicBezTo>
                  <a:pt x="96" y="576"/>
                  <a:pt x="96" y="576"/>
                  <a:pt x="96" y="576"/>
                </a:cubicBezTo>
                <a:cubicBezTo>
                  <a:pt x="768" y="576"/>
                  <a:pt x="768" y="576"/>
                  <a:pt x="768" y="576"/>
                </a:cubicBezTo>
                <a:lnTo>
                  <a:pt x="768" y="480"/>
                </a:lnTo>
                <a:close/>
                <a:moveTo>
                  <a:pt x="768" y="672"/>
                </a:moveTo>
                <a:cubicBezTo>
                  <a:pt x="96" y="672"/>
                  <a:pt x="96" y="672"/>
                  <a:pt x="96" y="672"/>
                </a:cubicBezTo>
                <a:cubicBezTo>
                  <a:pt x="96" y="768"/>
                  <a:pt x="96" y="768"/>
                  <a:pt x="96" y="768"/>
                </a:cubicBezTo>
                <a:cubicBezTo>
                  <a:pt x="768" y="768"/>
                  <a:pt x="768" y="768"/>
                  <a:pt x="768" y="768"/>
                </a:cubicBezTo>
                <a:lnTo>
                  <a:pt x="768" y="6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reeform 77">
            <a:extLst>
              <a:ext uri="{FF2B5EF4-FFF2-40B4-BE49-F238E27FC236}">
                <a16:creationId xmlns:a16="http://schemas.microsoft.com/office/drawing/2014/main" id="{0AE10DD0-D9DE-4009-A18E-B076345C3D1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933605" y="2805568"/>
            <a:ext cx="399952" cy="363665"/>
          </a:xfrm>
          <a:custGeom>
            <a:avLst/>
            <a:gdLst>
              <a:gd name="T0" fmla="*/ 864 w 1056"/>
              <a:gd name="T1" fmla="*/ 480 h 960"/>
              <a:gd name="T2" fmla="*/ 1056 w 1056"/>
              <a:gd name="T3" fmla="*/ 480 h 960"/>
              <a:gd name="T4" fmla="*/ 1056 w 1056"/>
              <a:gd name="T5" fmla="*/ 768 h 960"/>
              <a:gd name="T6" fmla="*/ 864 w 1056"/>
              <a:gd name="T7" fmla="*/ 960 h 960"/>
              <a:gd name="T8" fmla="*/ 192 w 1056"/>
              <a:gd name="T9" fmla="*/ 960 h 960"/>
              <a:gd name="T10" fmla="*/ 0 w 1056"/>
              <a:gd name="T11" fmla="*/ 768 h 960"/>
              <a:gd name="T12" fmla="*/ 0 w 1056"/>
              <a:gd name="T13" fmla="*/ 0 h 960"/>
              <a:gd name="T14" fmla="*/ 864 w 1056"/>
              <a:gd name="T15" fmla="*/ 0 h 960"/>
              <a:gd name="T16" fmla="*/ 864 w 1056"/>
              <a:gd name="T17" fmla="*/ 480 h 960"/>
              <a:gd name="T18" fmla="*/ 480 w 1056"/>
              <a:gd name="T19" fmla="*/ 96 h 960"/>
              <a:gd name="T20" fmla="*/ 96 w 1056"/>
              <a:gd name="T21" fmla="*/ 96 h 960"/>
              <a:gd name="T22" fmla="*/ 96 w 1056"/>
              <a:gd name="T23" fmla="*/ 384 h 960"/>
              <a:gd name="T24" fmla="*/ 480 w 1056"/>
              <a:gd name="T25" fmla="*/ 384 h 960"/>
              <a:gd name="T26" fmla="*/ 480 w 1056"/>
              <a:gd name="T27" fmla="*/ 96 h 960"/>
              <a:gd name="T28" fmla="*/ 768 w 1056"/>
              <a:gd name="T29" fmla="*/ 96 h 960"/>
              <a:gd name="T30" fmla="*/ 576 w 1056"/>
              <a:gd name="T31" fmla="*/ 96 h 960"/>
              <a:gd name="T32" fmla="*/ 576 w 1056"/>
              <a:gd name="T33" fmla="*/ 192 h 960"/>
              <a:gd name="T34" fmla="*/ 768 w 1056"/>
              <a:gd name="T35" fmla="*/ 192 h 960"/>
              <a:gd name="T36" fmla="*/ 768 w 1056"/>
              <a:gd name="T37" fmla="*/ 96 h 960"/>
              <a:gd name="T38" fmla="*/ 768 w 1056"/>
              <a:gd name="T39" fmla="*/ 288 h 960"/>
              <a:gd name="T40" fmla="*/ 576 w 1056"/>
              <a:gd name="T41" fmla="*/ 288 h 960"/>
              <a:gd name="T42" fmla="*/ 576 w 1056"/>
              <a:gd name="T43" fmla="*/ 384 h 960"/>
              <a:gd name="T44" fmla="*/ 768 w 1056"/>
              <a:gd name="T45" fmla="*/ 384 h 960"/>
              <a:gd name="T46" fmla="*/ 768 w 1056"/>
              <a:gd name="T47" fmla="*/ 288 h 960"/>
              <a:gd name="T48" fmla="*/ 768 w 1056"/>
              <a:gd name="T49" fmla="*/ 480 h 960"/>
              <a:gd name="T50" fmla="*/ 96 w 1056"/>
              <a:gd name="T51" fmla="*/ 480 h 960"/>
              <a:gd name="T52" fmla="*/ 96 w 1056"/>
              <a:gd name="T53" fmla="*/ 576 h 960"/>
              <a:gd name="T54" fmla="*/ 768 w 1056"/>
              <a:gd name="T55" fmla="*/ 576 h 960"/>
              <a:gd name="T56" fmla="*/ 768 w 1056"/>
              <a:gd name="T57" fmla="*/ 480 h 960"/>
              <a:gd name="T58" fmla="*/ 768 w 1056"/>
              <a:gd name="T59" fmla="*/ 672 h 960"/>
              <a:gd name="T60" fmla="*/ 96 w 1056"/>
              <a:gd name="T61" fmla="*/ 672 h 960"/>
              <a:gd name="T62" fmla="*/ 96 w 1056"/>
              <a:gd name="T63" fmla="*/ 768 h 960"/>
              <a:gd name="T64" fmla="*/ 768 w 1056"/>
              <a:gd name="T65" fmla="*/ 768 h 960"/>
              <a:gd name="T66" fmla="*/ 768 w 1056"/>
              <a:gd name="T67" fmla="*/ 672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56" h="960">
                <a:moveTo>
                  <a:pt x="864" y="480"/>
                </a:moveTo>
                <a:cubicBezTo>
                  <a:pt x="1056" y="480"/>
                  <a:pt x="1056" y="480"/>
                  <a:pt x="1056" y="480"/>
                </a:cubicBezTo>
                <a:cubicBezTo>
                  <a:pt x="1056" y="768"/>
                  <a:pt x="1056" y="768"/>
                  <a:pt x="1056" y="768"/>
                </a:cubicBezTo>
                <a:cubicBezTo>
                  <a:pt x="1056" y="874"/>
                  <a:pt x="970" y="960"/>
                  <a:pt x="864" y="960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86" y="960"/>
                  <a:pt x="0" y="874"/>
                  <a:pt x="0" y="768"/>
                </a:cubicBezTo>
                <a:cubicBezTo>
                  <a:pt x="0" y="0"/>
                  <a:pt x="0" y="0"/>
                  <a:pt x="0" y="0"/>
                </a:cubicBezTo>
                <a:cubicBezTo>
                  <a:pt x="864" y="0"/>
                  <a:pt x="864" y="0"/>
                  <a:pt x="864" y="0"/>
                </a:cubicBezTo>
                <a:lnTo>
                  <a:pt x="864" y="480"/>
                </a:lnTo>
                <a:close/>
                <a:moveTo>
                  <a:pt x="480" y="96"/>
                </a:moveTo>
                <a:cubicBezTo>
                  <a:pt x="96" y="96"/>
                  <a:pt x="96" y="96"/>
                  <a:pt x="96" y="96"/>
                </a:cubicBezTo>
                <a:cubicBezTo>
                  <a:pt x="96" y="384"/>
                  <a:pt x="96" y="384"/>
                  <a:pt x="96" y="384"/>
                </a:cubicBezTo>
                <a:cubicBezTo>
                  <a:pt x="480" y="384"/>
                  <a:pt x="480" y="384"/>
                  <a:pt x="480" y="384"/>
                </a:cubicBezTo>
                <a:lnTo>
                  <a:pt x="480" y="96"/>
                </a:lnTo>
                <a:close/>
                <a:moveTo>
                  <a:pt x="768" y="96"/>
                </a:moveTo>
                <a:cubicBezTo>
                  <a:pt x="576" y="96"/>
                  <a:pt x="576" y="96"/>
                  <a:pt x="576" y="96"/>
                </a:cubicBezTo>
                <a:cubicBezTo>
                  <a:pt x="576" y="192"/>
                  <a:pt x="576" y="192"/>
                  <a:pt x="576" y="192"/>
                </a:cubicBezTo>
                <a:cubicBezTo>
                  <a:pt x="768" y="192"/>
                  <a:pt x="768" y="192"/>
                  <a:pt x="768" y="192"/>
                </a:cubicBezTo>
                <a:lnTo>
                  <a:pt x="768" y="96"/>
                </a:lnTo>
                <a:close/>
                <a:moveTo>
                  <a:pt x="768" y="288"/>
                </a:moveTo>
                <a:cubicBezTo>
                  <a:pt x="576" y="288"/>
                  <a:pt x="576" y="288"/>
                  <a:pt x="576" y="288"/>
                </a:cubicBezTo>
                <a:cubicBezTo>
                  <a:pt x="576" y="384"/>
                  <a:pt x="576" y="384"/>
                  <a:pt x="576" y="384"/>
                </a:cubicBezTo>
                <a:cubicBezTo>
                  <a:pt x="768" y="384"/>
                  <a:pt x="768" y="384"/>
                  <a:pt x="768" y="384"/>
                </a:cubicBezTo>
                <a:lnTo>
                  <a:pt x="768" y="288"/>
                </a:lnTo>
                <a:close/>
                <a:moveTo>
                  <a:pt x="768" y="480"/>
                </a:moveTo>
                <a:cubicBezTo>
                  <a:pt x="96" y="480"/>
                  <a:pt x="96" y="480"/>
                  <a:pt x="96" y="480"/>
                </a:cubicBezTo>
                <a:cubicBezTo>
                  <a:pt x="96" y="576"/>
                  <a:pt x="96" y="576"/>
                  <a:pt x="96" y="576"/>
                </a:cubicBezTo>
                <a:cubicBezTo>
                  <a:pt x="768" y="576"/>
                  <a:pt x="768" y="576"/>
                  <a:pt x="768" y="576"/>
                </a:cubicBezTo>
                <a:lnTo>
                  <a:pt x="768" y="480"/>
                </a:lnTo>
                <a:close/>
                <a:moveTo>
                  <a:pt x="768" y="672"/>
                </a:moveTo>
                <a:cubicBezTo>
                  <a:pt x="96" y="672"/>
                  <a:pt x="96" y="672"/>
                  <a:pt x="96" y="672"/>
                </a:cubicBezTo>
                <a:cubicBezTo>
                  <a:pt x="96" y="768"/>
                  <a:pt x="96" y="768"/>
                  <a:pt x="96" y="768"/>
                </a:cubicBezTo>
                <a:cubicBezTo>
                  <a:pt x="768" y="768"/>
                  <a:pt x="768" y="768"/>
                  <a:pt x="768" y="768"/>
                </a:cubicBezTo>
                <a:lnTo>
                  <a:pt x="768" y="6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Freeform 69">
            <a:extLst>
              <a:ext uri="{FF2B5EF4-FFF2-40B4-BE49-F238E27FC236}">
                <a16:creationId xmlns:a16="http://schemas.microsoft.com/office/drawing/2014/main" id="{CED6CE00-8625-498D-8E34-D5177233374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464167" y="2805568"/>
            <a:ext cx="333537" cy="363664"/>
          </a:xfrm>
          <a:custGeom>
            <a:avLst/>
            <a:gdLst>
              <a:gd name="T0" fmla="*/ 672 w 1056"/>
              <a:gd name="T1" fmla="*/ 864 h 1152"/>
              <a:gd name="T2" fmla="*/ 576 w 1056"/>
              <a:gd name="T3" fmla="*/ 960 h 1152"/>
              <a:gd name="T4" fmla="*/ 480 w 1056"/>
              <a:gd name="T5" fmla="*/ 960 h 1152"/>
              <a:gd name="T6" fmla="*/ 384 w 1056"/>
              <a:gd name="T7" fmla="*/ 864 h 1152"/>
              <a:gd name="T8" fmla="*/ 480 w 1056"/>
              <a:gd name="T9" fmla="*/ 768 h 1152"/>
              <a:gd name="T10" fmla="*/ 576 w 1056"/>
              <a:gd name="T11" fmla="*/ 768 h 1152"/>
              <a:gd name="T12" fmla="*/ 672 w 1056"/>
              <a:gd name="T13" fmla="*/ 864 h 1152"/>
              <a:gd name="T14" fmla="*/ 960 w 1056"/>
              <a:gd name="T15" fmla="*/ 144 h 1152"/>
              <a:gd name="T16" fmla="*/ 816 w 1056"/>
              <a:gd name="T17" fmla="*/ 0 h 1152"/>
              <a:gd name="T18" fmla="*/ 672 w 1056"/>
              <a:gd name="T19" fmla="*/ 144 h 1152"/>
              <a:gd name="T20" fmla="*/ 816 w 1056"/>
              <a:gd name="T21" fmla="*/ 288 h 1152"/>
              <a:gd name="T22" fmla="*/ 960 w 1056"/>
              <a:gd name="T23" fmla="*/ 144 h 1152"/>
              <a:gd name="T24" fmla="*/ 1056 w 1056"/>
              <a:gd name="T25" fmla="*/ 864 h 1152"/>
              <a:gd name="T26" fmla="*/ 960 w 1056"/>
              <a:gd name="T27" fmla="*/ 864 h 1152"/>
              <a:gd name="T28" fmla="*/ 960 w 1056"/>
              <a:gd name="T29" fmla="*/ 1152 h 1152"/>
              <a:gd name="T30" fmla="*/ 96 w 1056"/>
              <a:gd name="T31" fmla="*/ 1152 h 1152"/>
              <a:gd name="T32" fmla="*/ 96 w 1056"/>
              <a:gd name="T33" fmla="*/ 864 h 1152"/>
              <a:gd name="T34" fmla="*/ 0 w 1056"/>
              <a:gd name="T35" fmla="*/ 864 h 1152"/>
              <a:gd name="T36" fmla="*/ 0 w 1056"/>
              <a:gd name="T37" fmla="*/ 528 h 1152"/>
              <a:gd name="T38" fmla="*/ 240 w 1056"/>
              <a:gd name="T39" fmla="*/ 288 h 1152"/>
              <a:gd name="T40" fmla="*/ 480 w 1056"/>
              <a:gd name="T41" fmla="*/ 528 h 1152"/>
              <a:gd name="T42" fmla="*/ 480 w 1056"/>
              <a:gd name="T43" fmla="*/ 576 h 1152"/>
              <a:gd name="T44" fmla="*/ 576 w 1056"/>
              <a:gd name="T45" fmla="*/ 576 h 1152"/>
              <a:gd name="T46" fmla="*/ 576 w 1056"/>
              <a:gd name="T47" fmla="*/ 528 h 1152"/>
              <a:gd name="T48" fmla="*/ 816 w 1056"/>
              <a:gd name="T49" fmla="*/ 288 h 1152"/>
              <a:gd name="T50" fmla="*/ 1056 w 1056"/>
              <a:gd name="T51" fmla="*/ 528 h 1152"/>
              <a:gd name="T52" fmla="*/ 1056 w 1056"/>
              <a:gd name="T53" fmla="*/ 864 h 1152"/>
              <a:gd name="T54" fmla="*/ 864 w 1056"/>
              <a:gd name="T55" fmla="*/ 768 h 1152"/>
              <a:gd name="T56" fmla="*/ 768 w 1056"/>
              <a:gd name="T57" fmla="*/ 672 h 1152"/>
              <a:gd name="T58" fmla="*/ 288 w 1056"/>
              <a:gd name="T59" fmla="*/ 672 h 1152"/>
              <a:gd name="T60" fmla="*/ 192 w 1056"/>
              <a:gd name="T61" fmla="*/ 768 h 1152"/>
              <a:gd name="T62" fmla="*/ 192 w 1056"/>
              <a:gd name="T63" fmla="*/ 960 h 1152"/>
              <a:gd name="T64" fmla="*/ 288 w 1056"/>
              <a:gd name="T65" fmla="*/ 1056 h 1152"/>
              <a:gd name="T66" fmla="*/ 768 w 1056"/>
              <a:gd name="T67" fmla="*/ 1056 h 1152"/>
              <a:gd name="T68" fmla="*/ 864 w 1056"/>
              <a:gd name="T69" fmla="*/ 960 h 1152"/>
              <a:gd name="T70" fmla="*/ 864 w 1056"/>
              <a:gd name="T71" fmla="*/ 768 h 1152"/>
              <a:gd name="T72" fmla="*/ 384 w 1056"/>
              <a:gd name="T73" fmla="*/ 144 h 1152"/>
              <a:gd name="T74" fmla="*/ 240 w 1056"/>
              <a:gd name="T75" fmla="*/ 0 h 1152"/>
              <a:gd name="T76" fmla="*/ 96 w 1056"/>
              <a:gd name="T77" fmla="*/ 144 h 1152"/>
              <a:gd name="T78" fmla="*/ 240 w 1056"/>
              <a:gd name="T79" fmla="*/ 288 h 1152"/>
              <a:gd name="T80" fmla="*/ 384 w 1056"/>
              <a:gd name="T81" fmla="*/ 144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056" h="1152">
                <a:moveTo>
                  <a:pt x="672" y="864"/>
                </a:moveTo>
                <a:cubicBezTo>
                  <a:pt x="672" y="917"/>
                  <a:pt x="629" y="960"/>
                  <a:pt x="576" y="960"/>
                </a:cubicBezTo>
                <a:cubicBezTo>
                  <a:pt x="480" y="960"/>
                  <a:pt x="480" y="960"/>
                  <a:pt x="480" y="960"/>
                </a:cubicBezTo>
                <a:cubicBezTo>
                  <a:pt x="427" y="960"/>
                  <a:pt x="384" y="917"/>
                  <a:pt x="384" y="864"/>
                </a:cubicBezTo>
                <a:cubicBezTo>
                  <a:pt x="384" y="811"/>
                  <a:pt x="427" y="768"/>
                  <a:pt x="480" y="768"/>
                </a:cubicBezTo>
                <a:cubicBezTo>
                  <a:pt x="576" y="768"/>
                  <a:pt x="576" y="768"/>
                  <a:pt x="576" y="768"/>
                </a:cubicBezTo>
                <a:cubicBezTo>
                  <a:pt x="629" y="768"/>
                  <a:pt x="672" y="811"/>
                  <a:pt x="672" y="864"/>
                </a:cubicBezTo>
                <a:close/>
                <a:moveTo>
                  <a:pt x="960" y="144"/>
                </a:moveTo>
                <a:cubicBezTo>
                  <a:pt x="960" y="64"/>
                  <a:pt x="896" y="0"/>
                  <a:pt x="816" y="0"/>
                </a:cubicBezTo>
                <a:cubicBezTo>
                  <a:pt x="736" y="0"/>
                  <a:pt x="672" y="64"/>
                  <a:pt x="672" y="144"/>
                </a:cubicBezTo>
                <a:cubicBezTo>
                  <a:pt x="672" y="224"/>
                  <a:pt x="736" y="288"/>
                  <a:pt x="816" y="288"/>
                </a:cubicBezTo>
                <a:cubicBezTo>
                  <a:pt x="896" y="288"/>
                  <a:pt x="960" y="224"/>
                  <a:pt x="960" y="144"/>
                </a:cubicBezTo>
                <a:close/>
                <a:moveTo>
                  <a:pt x="1056" y="864"/>
                </a:moveTo>
                <a:cubicBezTo>
                  <a:pt x="960" y="864"/>
                  <a:pt x="960" y="864"/>
                  <a:pt x="960" y="864"/>
                </a:cubicBezTo>
                <a:cubicBezTo>
                  <a:pt x="960" y="1152"/>
                  <a:pt x="960" y="1152"/>
                  <a:pt x="960" y="1152"/>
                </a:cubicBezTo>
                <a:cubicBezTo>
                  <a:pt x="96" y="1152"/>
                  <a:pt x="96" y="1152"/>
                  <a:pt x="96" y="1152"/>
                </a:cubicBezTo>
                <a:cubicBezTo>
                  <a:pt x="96" y="864"/>
                  <a:pt x="96" y="864"/>
                  <a:pt x="96" y="864"/>
                </a:cubicBezTo>
                <a:cubicBezTo>
                  <a:pt x="0" y="864"/>
                  <a:pt x="0" y="864"/>
                  <a:pt x="0" y="864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395"/>
                  <a:pt x="107" y="288"/>
                  <a:pt x="240" y="288"/>
                </a:cubicBezTo>
                <a:cubicBezTo>
                  <a:pt x="373" y="288"/>
                  <a:pt x="480" y="395"/>
                  <a:pt x="480" y="528"/>
                </a:cubicBezTo>
                <a:cubicBezTo>
                  <a:pt x="480" y="576"/>
                  <a:pt x="480" y="576"/>
                  <a:pt x="48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528"/>
                  <a:pt x="576" y="528"/>
                  <a:pt x="576" y="528"/>
                </a:cubicBezTo>
                <a:cubicBezTo>
                  <a:pt x="576" y="395"/>
                  <a:pt x="683" y="288"/>
                  <a:pt x="816" y="288"/>
                </a:cubicBezTo>
                <a:cubicBezTo>
                  <a:pt x="949" y="288"/>
                  <a:pt x="1056" y="395"/>
                  <a:pt x="1056" y="528"/>
                </a:cubicBezTo>
                <a:lnTo>
                  <a:pt x="1056" y="864"/>
                </a:lnTo>
                <a:close/>
                <a:moveTo>
                  <a:pt x="864" y="768"/>
                </a:moveTo>
                <a:cubicBezTo>
                  <a:pt x="811" y="768"/>
                  <a:pt x="768" y="725"/>
                  <a:pt x="768" y="672"/>
                </a:cubicBezTo>
                <a:cubicBezTo>
                  <a:pt x="288" y="672"/>
                  <a:pt x="288" y="672"/>
                  <a:pt x="288" y="672"/>
                </a:cubicBezTo>
                <a:cubicBezTo>
                  <a:pt x="288" y="725"/>
                  <a:pt x="245" y="768"/>
                  <a:pt x="192" y="768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245" y="960"/>
                  <a:pt x="288" y="1003"/>
                  <a:pt x="288" y="1056"/>
                </a:cubicBezTo>
                <a:cubicBezTo>
                  <a:pt x="768" y="1056"/>
                  <a:pt x="768" y="1056"/>
                  <a:pt x="768" y="1056"/>
                </a:cubicBezTo>
                <a:cubicBezTo>
                  <a:pt x="768" y="1003"/>
                  <a:pt x="811" y="960"/>
                  <a:pt x="864" y="960"/>
                </a:cubicBezTo>
                <a:lnTo>
                  <a:pt x="864" y="768"/>
                </a:lnTo>
                <a:close/>
                <a:moveTo>
                  <a:pt x="384" y="144"/>
                </a:moveTo>
                <a:cubicBezTo>
                  <a:pt x="384" y="64"/>
                  <a:pt x="320" y="0"/>
                  <a:pt x="240" y="0"/>
                </a:cubicBezTo>
                <a:cubicBezTo>
                  <a:pt x="160" y="0"/>
                  <a:pt x="96" y="64"/>
                  <a:pt x="96" y="144"/>
                </a:cubicBezTo>
                <a:cubicBezTo>
                  <a:pt x="96" y="224"/>
                  <a:pt x="160" y="288"/>
                  <a:pt x="240" y="288"/>
                </a:cubicBezTo>
                <a:cubicBezTo>
                  <a:pt x="320" y="288"/>
                  <a:pt x="384" y="224"/>
                  <a:pt x="384" y="144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Freeform 61">
            <a:extLst>
              <a:ext uri="{FF2B5EF4-FFF2-40B4-BE49-F238E27FC236}">
                <a16:creationId xmlns:a16="http://schemas.microsoft.com/office/drawing/2014/main" id="{D504A412-814D-4426-AF6A-B0EA7906BAB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928314" y="2805568"/>
            <a:ext cx="363664" cy="363664"/>
          </a:xfrm>
          <a:custGeom>
            <a:avLst/>
            <a:gdLst>
              <a:gd name="T0" fmla="*/ 1152 w 1152"/>
              <a:gd name="T1" fmla="*/ 1152 h 1152"/>
              <a:gd name="T2" fmla="*/ 0 w 1152"/>
              <a:gd name="T3" fmla="*/ 1152 h 1152"/>
              <a:gd name="T4" fmla="*/ 0 w 1152"/>
              <a:gd name="T5" fmla="*/ 0 h 1152"/>
              <a:gd name="T6" fmla="*/ 192 w 1152"/>
              <a:gd name="T7" fmla="*/ 192 h 1152"/>
              <a:gd name="T8" fmla="*/ 96 w 1152"/>
              <a:gd name="T9" fmla="*/ 192 h 1152"/>
              <a:gd name="T10" fmla="*/ 96 w 1152"/>
              <a:gd name="T11" fmla="*/ 1056 h 1152"/>
              <a:gd name="T12" fmla="*/ 960 w 1152"/>
              <a:gd name="T13" fmla="*/ 1056 h 1152"/>
              <a:gd name="T14" fmla="*/ 960 w 1152"/>
              <a:gd name="T15" fmla="*/ 960 h 1152"/>
              <a:gd name="T16" fmla="*/ 1152 w 1152"/>
              <a:gd name="T17" fmla="*/ 1152 h 1152"/>
              <a:gd name="T18" fmla="*/ 1056 w 1152"/>
              <a:gd name="T19" fmla="*/ 192 h 1152"/>
              <a:gd name="T20" fmla="*/ 960 w 1152"/>
              <a:gd name="T21" fmla="*/ 192 h 1152"/>
              <a:gd name="T22" fmla="*/ 288 w 1152"/>
              <a:gd name="T23" fmla="*/ 864 h 1152"/>
              <a:gd name="T24" fmla="*/ 192 w 1152"/>
              <a:gd name="T25" fmla="*/ 864 h 1152"/>
              <a:gd name="T26" fmla="*/ 192 w 1152"/>
              <a:gd name="T27" fmla="*/ 960 h 1152"/>
              <a:gd name="T28" fmla="*/ 288 w 1152"/>
              <a:gd name="T29" fmla="*/ 960 h 1152"/>
              <a:gd name="T30" fmla="*/ 1056 w 1152"/>
              <a:gd name="T31" fmla="*/ 192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52" h="1152">
                <a:moveTo>
                  <a:pt x="1152" y="1152"/>
                </a:moveTo>
                <a:cubicBezTo>
                  <a:pt x="0" y="1152"/>
                  <a:pt x="0" y="1152"/>
                  <a:pt x="0" y="1152"/>
                </a:cubicBezTo>
                <a:cubicBezTo>
                  <a:pt x="0" y="0"/>
                  <a:pt x="0" y="0"/>
                  <a:pt x="0" y="0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96" y="192"/>
                  <a:pt x="96" y="192"/>
                  <a:pt x="96" y="192"/>
                </a:cubicBezTo>
                <a:cubicBezTo>
                  <a:pt x="96" y="1056"/>
                  <a:pt x="96" y="1056"/>
                  <a:pt x="96" y="1056"/>
                </a:cubicBezTo>
                <a:cubicBezTo>
                  <a:pt x="960" y="1056"/>
                  <a:pt x="960" y="1056"/>
                  <a:pt x="960" y="1056"/>
                </a:cubicBezTo>
                <a:cubicBezTo>
                  <a:pt x="960" y="960"/>
                  <a:pt x="960" y="960"/>
                  <a:pt x="960" y="960"/>
                </a:cubicBezTo>
                <a:lnTo>
                  <a:pt x="1152" y="1152"/>
                </a:lnTo>
                <a:close/>
                <a:moveTo>
                  <a:pt x="1056" y="192"/>
                </a:moveTo>
                <a:cubicBezTo>
                  <a:pt x="960" y="192"/>
                  <a:pt x="960" y="192"/>
                  <a:pt x="960" y="192"/>
                </a:cubicBezTo>
                <a:cubicBezTo>
                  <a:pt x="960" y="563"/>
                  <a:pt x="659" y="864"/>
                  <a:pt x="288" y="864"/>
                </a:cubicBezTo>
                <a:cubicBezTo>
                  <a:pt x="192" y="864"/>
                  <a:pt x="192" y="864"/>
                  <a:pt x="192" y="864"/>
                </a:cubicBezTo>
                <a:cubicBezTo>
                  <a:pt x="192" y="960"/>
                  <a:pt x="192" y="960"/>
                  <a:pt x="192" y="960"/>
                </a:cubicBezTo>
                <a:cubicBezTo>
                  <a:pt x="288" y="960"/>
                  <a:pt x="288" y="960"/>
                  <a:pt x="288" y="960"/>
                </a:cubicBezTo>
                <a:cubicBezTo>
                  <a:pt x="712" y="960"/>
                  <a:pt x="1056" y="615"/>
                  <a:pt x="1056" y="192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A7AA29C7-56C9-4D5C-83A6-DBE85B2B26E2}"/>
              </a:ext>
            </a:extLst>
          </p:cNvPr>
          <p:cNvGrpSpPr/>
          <p:nvPr/>
        </p:nvGrpSpPr>
        <p:grpSpPr>
          <a:xfrm>
            <a:off x="1457823" y="3538326"/>
            <a:ext cx="1248813" cy="985834"/>
            <a:chOff x="1568852" y="3538326"/>
            <a:chExt cx="1248813" cy="985834"/>
          </a:xfrm>
        </p:grpSpPr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74E9099C-4371-415D-8C42-123E40D4DA99}"/>
                </a:ext>
              </a:extLst>
            </p:cNvPr>
            <p:cNvGrpSpPr/>
            <p:nvPr/>
          </p:nvGrpSpPr>
          <p:grpSpPr>
            <a:xfrm>
              <a:off x="1568852" y="3538326"/>
              <a:ext cx="1248813" cy="985834"/>
              <a:chOff x="8406580" y="618359"/>
              <a:chExt cx="1484672" cy="1172025"/>
            </a:xfrm>
          </p:grpSpPr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6ECF6875-5F46-47C4-A051-D0DB3222535B}"/>
                  </a:ext>
                </a:extLst>
              </p:cNvPr>
              <p:cNvSpPr/>
              <p:nvPr/>
            </p:nvSpPr>
            <p:spPr>
              <a:xfrm>
                <a:off x="8406581" y="618359"/>
                <a:ext cx="1484671" cy="1172025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2B504600-B3B7-43FF-B9D5-FCF3071B8CCD}"/>
                  </a:ext>
                </a:extLst>
              </p:cNvPr>
              <p:cNvSpPr/>
              <p:nvPr/>
            </p:nvSpPr>
            <p:spPr>
              <a:xfrm>
                <a:off x="8406580" y="618359"/>
                <a:ext cx="1484671" cy="241964"/>
              </a:xfrm>
              <a:prstGeom prst="rect">
                <a:avLst/>
              </a:prstGeom>
              <a:solidFill>
                <a:schemeClr val="tx1"/>
              </a:solidFill>
              <a:ln w="1905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58759837-2474-4CE2-8F80-9A7ACF80A9C5}"/>
                  </a:ext>
                </a:extLst>
              </p:cNvPr>
              <p:cNvGrpSpPr/>
              <p:nvPr/>
            </p:nvGrpSpPr>
            <p:grpSpPr>
              <a:xfrm>
                <a:off x="9734550" y="706003"/>
                <a:ext cx="90794" cy="66676"/>
                <a:chOff x="10358438" y="639763"/>
                <a:chExt cx="90794" cy="66676"/>
              </a:xfrm>
            </p:grpSpPr>
            <p:cxnSp>
              <p:nvCxnSpPr>
                <p:cNvPr id="122" name="Straight Connector 121">
                  <a:extLst>
                    <a:ext uri="{FF2B5EF4-FFF2-40B4-BE49-F238E27FC236}">
                      <a16:creationId xmlns:a16="http://schemas.microsoft.com/office/drawing/2014/main" id="{08A1270B-B568-4D9C-86C0-1F26252407F7}"/>
                    </a:ext>
                  </a:extLst>
                </p:cNvPr>
                <p:cNvCxnSpPr/>
                <p:nvPr/>
              </p:nvCxnSpPr>
              <p:spPr>
                <a:xfrm>
                  <a:off x="10358438" y="639763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23" name="Straight Connector 122">
                  <a:extLst>
                    <a:ext uri="{FF2B5EF4-FFF2-40B4-BE49-F238E27FC236}">
                      <a16:creationId xmlns:a16="http://schemas.microsoft.com/office/drawing/2014/main" id="{50141450-4285-4989-85FE-AB014A085F22}"/>
                    </a:ext>
                  </a:extLst>
                </p:cNvPr>
                <p:cNvCxnSpPr/>
                <p:nvPr/>
              </p:nvCxnSpPr>
              <p:spPr>
                <a:xfrm>
                  <a:off x="10358438" y="673101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24" name="Straight Connector 123">
                  <a:extLst>
                    <a:ext uri="{FF2B5EF4-FFF2-40B4-BE49-F238E27FC236}">
                      <a16:creationId xmlns:a16="http://schemas.microsoft.com/office/drawing/2014/main" id="{DF2C955D-8424-480F-82F8-BD19437A3F57}"/>
                    </a:ext>
                  </a:extLst>
                </p:cNvPr>
                <p:cNvCxnSpPr/>
                <p:nvPr/>
              </p:nvCxnSpPr>
              <p:spPr>
                <a:xfrm>
                  <a:off x="10358438" y="706439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146AE8E7-FCCC-4E9D-BDD9-EE9D1BF2EC0C}"/>
                </a:ext>
              </a:extLst>
            </p:cNvPr>
            <p:cNvGrpSpPr/>
            <p:nvPr/>
          </p:nvGrpSpPr>
          <p:grpSpPr>
            <a:xfrm>
              <a:off x="1868561" y="3820587"/>
              <a:ext cx="641566" cy="587434"/>
              <a:chOff x="1921047" y="2009393"/>
              <a:chExt cx="3929255" cy="3597728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C8C0CFE-B6CA-4588-83DA-625595B9A781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041815" y="3371315"/>
                <a:ext cx="1001804" cy="23145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961EF558-59CF-4C00-9271-BEE057A8A78F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V="1">
                <a:off x="2398973" y="4215060"/>
                <a:ext cx="1021929" cy="1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866FC4D4-9223-4017-9422-3D14D9ED3AA1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 flipV="1">
                <a:off x="3629328" y="3600560"/>
                <a:ext cx="10894" cy="1019415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CD8A835-CFB7-479D-B013-5785E8861464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>
                <a:off x="3197930" y="2233395"/>
                <a:ext cx="744193" cy="963096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0CD42599-2188-4963-B681-34BD02B31506}"/>
                  </a:ext>
                </a:extLst>
              </p:cNvPr>
              <p:cNvSpPr/>
              <p:nvPr/>
            </p:nvSpPr>
            <p:spPr>
              <a:xfrm rot="2248319">
                <a:off x="2891462" y="4103698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76398F13-F656-41FC-A9D4-283CE237F976}"/>
                  </a:ext>
                </a:extLst>
              </p:cNvPr>
              <p:cNvSpPr/>
              <p:nvPr/>
            </p:nvSpPr>
            <p:spPr>
              <a:xfrm rot="2248319">
                <a:off x="4471581" y="2972869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E5F5101-9BC1-4CB3-9D1A-1E56BC524505}"/>
                  </a:ext>
                </a:extLst>
              </p:cNvPr>
              <p:cNvSpPr/>
              <p:nvPr/>
            </p:nvSpPr>
            <p:spPr>
              <a:xfrm rot="2248319">
                <a:off x="4106925" y="4050847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0DEABF93-C3A4-4A2F-8B14-5AA3E442CB68}"/>
                  </a:ext>
                </a:extLst>
              </p:cNvPr>
              <p:cNvSpPr/>
              <p:nvPr/>
            </p:nvSpPr>
            <p:spPr>
              <a:xfrm rot="2248319">
                <a:off x="2983156" y="3505997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C0FE6CE3-8E61-4AF0-AE77-3465BAD4A647}"/>
                  </a:ext>
                </a:extLst>
              </p:cNvPr>
              <p:cNvSpPr/>
              <p:nvPr/>
            </p:nvSpPr>
            <p:spPr>
              <a:xfrm rot="2248319">
                <a:off x="3265335" y="2009393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AF4E059C-1A3A-4DBB-B769-3CEAF796C9DB}"/>
                  </a:ext>
                </a:extLst>
              </p:cNvPr>
              <p:cNvSpPr/>
              <p:nvPr/>
            </p:nvSpPr>
            <p:spPr>
              <a:xfrm rot="2248319">
                <a:off x="4822564" y="4649470"/>
                <a:ext cx="433106" cy="433106"/>
              </a:xfrm>
              <a:prstGeom prst="ellipse">
                <a:avLst/>
              </a:prstGeom>
              <a:solidFill>
                <a:srgbClr val="FFED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ED7D99F6-8D9B-4BE9-A1F4-F72FB8F7DE8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82605" y="3215261"/>
                <a:ext cx="377599" cy="1712581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867D6DED-CD16-4993-AC41-5804F1D3E4E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039117" y="3468335"/>
                <a:ext cx="377917" cy="1387074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81F77AA9-FB9B-4CED-AC77-C5BB83371D5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2775" y="4298273"/>
                <a:ext cx="135921" cy="892483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77D04B6A-81C8-4A44-B268-3843B25BB9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56205" y="3774781"/>
                <a:ext cx="1058672" cy="508228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0DBF58E4-18EB-40DF-A536-7933BCD4D8C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34131" y="3719338"/>
                <a:ext cx="863960" cy="18892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4F154AFF-3A29-4C8E-ABA3-F10A1D8FA0C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49174" y="2225947"/>
                <a:ext cx="527590" cy="753706"/>
              </a:xfrm>
              <a:prstGeom prst="line">
                <a:avLst/>
              </a:prstGeom>
              <a:solidFill>
                <a:srgbClr val="FFED00"/>
              </a:solidFill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41D2B052-1F59-4BEB-817F-6AFA1D86BBF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186689" y="2502476"/>
                <a:ext cx="504958" cy="694162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3082D8D1-2E65-4DDB-A018-E18E2824768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650346" y="3189423"/>
                <a:ext cx="783590" cy="267001"/>
              </a:xfrm>
              <a:prstGeom prst="line">
                <a:avLst/>
              </a:prstGeom>
              <a:noFill/>
              <a:ln w="12700" cap="sq" cmpd="sng" algn="ctr">
                <a:solidFill>
                  <a:srgbClr val="FFED00"/>
                </a:solidFill>
                <a:prstDash val="solid"/>
              </a:ln>
              <a:effectLst/>
            </p:spPr>
          </p:cxn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E3628013-9307-43DC-9D97-D17099EF5FB4}"/>
                  </a:ext>
                </a:extLst>
              </p:cNvPr>
              <p:cNvSpPr/>
              <p:nvPr/>
            </p:nvSpPr>
            <p:spPr>
              <a:xfrm rot="2248319">
                <a:off x="2548891" y="2540775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92A87960-11BE-426B-BE7A-8F199EB7D59C}"/>
                  </a:ext>
                </a:extLst>
              </p:cNvPr>
              <p:cNvSpPr/>
              <p:nvPr/>
            </p:nvSpPr>
            <p:spPr>
              <a:xfrm rot="2248319">
                <a:off x="1921047" y="3359826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E3F6D7AF-4CAF-4B9C-8021-FA7A828ECC18}"/>
                  </a:ext>
                </a:extLst>
              </p:cNvPr>
              <p:cNvSpPr/>
              <p:nvPr/>
            </p:nvSpPr>
            <p:spPr>
              <a:xfrm rot="2248319">
                <a:off x="3517009" y="3282887"/>
                <a:ext cx="832731" cy="832731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C460ED01-6C38-4A64-BE90-2A962F52D3AC}"/>
                  </a:ext>
                </a:extLst>
              </p:cNvPr>
              <p:cNvSpPr/>
              <p:nvPr/>
            </p:nvSpPr>
            <p:spPr>
              <a:xfrm rot="2248319">
                <a:off x="5017571" y="3051970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AFC0A740-B4CC-4892-8951-E167F25FE315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815385" y="2545326"/>
                <a:ext cx="528599" cy="1166483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0D26FBB2-2E6A-4AF6-81F8-8F3CD751B32C}"/>
                  </a:ext>
                </a:extLst>
              </p:cNvPr>
              <p:cNvSpPr/>
              <p:nvPr/>
            </p:nvSpPr>
            <p:spPr>
              <a:xfrm rot="2248319">
                <a:off x="3809930" y="2126252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C8817A73-AF00-4958-8382-0C9BC2597B41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3184461" y="4855409"/>
                <a:ext cx="1121681" cy="0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1A2E4413-2C7C-41C4-8D38-EF82FCE13877}"/>
                  </a:ext>
                </a:extLst>
              </p:cNvPr>
              <p:cNvSpPr/>
              <p:nvPr/>
            </p:nvSpPr>
            <p:spPr>
              <a:xfrm rot="2248319">
                <a:off x="3766410" y="4774390"/>
                <a:ext cx="832731" cy="832731"/>
              </a:xfrm>
              <a:prstGeom prst="ellipse">
                <a:avLst/>
              </a:prstGeom>
              <a:solidFill>
                <a:sysClr val="windowText" lastClr="000000"/>
              </a:solidFill>
              <a:ln w="28575">
                <a:noFill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4589D2B0-EA81-4995-9D8A-F357037D0B93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 flipH="1">
                <a:off x="4188701" y="3073759"/>
                <a:ext cx="1017209" cy="1039076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4238E746-4DD7-4406-873B-84EF8C100152}"/>
                  </a:ext>
                </a:extLst>
              </p:cNvPr>
              <p:cNvCxnSpPr>
                <a:cxnSpLocks/>
              </p:cNvCxnSpPr>
              <p:nvPr/>
            </p:nvCxnSpPr>
            <p:spPr>
              <a:xfrm rot="2248319">
                <a:off x="4655080" y="3564669"/>
                <a:ext cx="34841" cy="1793987"/>
              </a:xfrm>
              <a:prstGeom prst="line">
                <a:avLst/>
              </a:prstGeom>
              <a:noFill/>
              <a:ln w="28575" cap="sq" cmpd="sng" algn="ctr">
                <a:solidFill>
                  <a:srgbClr val="000000"/>
                </a:solidFill>
                <a:prstDash val="solid"/>
              </a:ln>
              <a:effectLst/>
            </p:spPr>
          </p:cxnSp>
        </p:grpSp>
      </p:grpSp>
      <p:sp>
        <p:nvSpPr>
          <p:cNvPr id="136" name="Shape 135">
            <a:extLst>
              <a:ext uri="{FF2B5EF4-FFF2-40B4-BE49-F238E27FC236}">
                <a16:creationId xmlns:a16="http://schemas.microsoft.com/office/drawing/2014/main" id="{DDD3EE56-BD40-46DB-9011-1531902B9AB0}"/>
              </a:ext>
            </a:extLst>
          </p:cNvPr>
          <p:cNvSpPr/>
          <p:nvPr/>
        </p:nvSpPr>
        <p:spPr>
          <a:xfrm rot="10800000">
            <a:off x="2304310" y="3246160"/>
            <a:ext cx="806344" cy="774905"/>
          </a:xfrm>
          <a:prstGeom prst="swooshArrow">
            <a:avLst>
              <a:gd name="adj1" fmla="val 25000"/>
              <a:gd name="adj2" fmla="val 25000"/>
            </a:avLst>
          </a:prstGeom>
          <a:solidFill>
            <a:schemeClr val="accent3"/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7" name="Shape 136">
            <a:extLst>
              <a:ext uri="{FF2B5EF4-FFF2-40B4-BE49-F238E27FC236}">
                <a16:creationId xmlns:a16="http://schemas.microsoft.com/office/drawing/2014/main" id="{26602F21-3A44-423B-8E48-FD73A25470FC}"/>
              </a:ext>
            </a:extLst>
          </p:cNvPr>
          <p:cNvSpPr/>
          <p:nvPr/>
        </p:nvSpPr>
        <p:spPr>
          <a:xfrm rot="10800000" flipH="1">
            <a:off x="1034674" y="3246161"/>
            <a:ext cx="762858" cy="774905"/>
          </a:xfrm>
          <a:prstGeom prst="swooshArrow">
            <a:avLst>
              <a:gd name="adj1" fmla="val 25000"/>
              <a:gd name="adj2" fmla="val 25000"/>
            </a:avLst>
          </a:prstGeom>
          <a:solidFill>
            <a:schemeClr val="accent3"/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47FBD109-B142-4ED8-805A-A55D42A6888D}"/>
              </a:ext>
            </a:extLst>
          </p:cNvPr>
          <p:cNvSpPr txBox="1"/>
          <p:nvPr/>
        </p:nvSpPr>
        <p:spPr>
          <a:xfrm>
            <a:off x="11007461" y="5097189"/>
            <a:ext cx="2974258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gress ideas to delivered solutions with 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XC Accelerated Solution Development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12DD92D-ADD7-42F7-AB44-1204A3BD5EA0}"/>
              </a:ext>
            </a:extLst>
          </p:cNvPr>
          <p:cNvGrpSpPr/>
          <p:nvPr/>
        </p:nvGrpSpPr>
        <p:grpSpPr>
          <a:xfrm>
            <a:off x="7750920" y="2621110"/>
            <a:ext cx="2594928" cy="2048480"/>
            <a:chOff x="7664639" y="2653099"/>
            <a:chExt cx="2594928" cy="2048480"/>
          </a:xfrm>
        </p:grpSpPr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56B142B0-CB7D-4394-8799-898CE101DC08}"/>
                </a:ext>
              </a:extLst>
            </p:cNvPr>
            <p:cNvGrpSpPr/>
            <p:nvPr/>
          </p:nvGrpSpPr>
          <p:grpSpPr>
            <a:xfrm>
              <a:off x="7664639" y="2653099"/>
              <a:ext cx="2594928" cy="2048480"/>
              <a:chOff x="8406580" y="618359"/>
              <a:chExt cx="1484672" cy="1172025"/>
            </a:xfrm>
          </p:grpSpPr>
          <p:sp>
            <p:nvSpPr>
              <p:cNvPr id="142" name="Rectangle 141">
                <a:extLst>
                  <a:ext uri="{FF2B5EF4-FFF2-40B4-BE49-F238E27FC236}">
                    <a16:creationId xmlns:a16="http://schemas.microsoft.com/office/drawing/2014/main" id="{B29CDF55-FFFC-41E9-8272-D26CC524DAE7}"/>
                  </a:ext>
                </a:extLst>
              </p:cNvPr>
              <p:cNvSpPr/>
              <p:nvPr/>
            </p:nvSpPr>
            <p:spPr>
              <a:xfrm>
                <a:off x="8406581" y="618359"/>
                <a:ext cx="1484671" cy="1172025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" name="Rectangle 142">
                <a:extLst>
                  <a:ext uri="{FF2B5EF4-FFF2-40B4-BE49-F238E27FC236}">
                    <a16:creationId xmlns:a16="http://schemas.microsoft.com/office/drawing/2014/main" id="{59508D7D-085F-4E0F-B15B-A8FFD7D23B42}"/>
                  </a:ext>
                </a:extLst>
              </p:cNvPr>
              <p:cNvSpPr/>
              <p:nvPr/>
            </p:nvSpPr>
            <p:spPr>
              <a:xfrm>
                <a:off x="8406580" y="618359"/>
                <a:ext cx="1484671" cy="137946"/>
              </a:xfrm>
              <a:prstGeom prst="rect">
                <a:avLst/>
              </a:prstGeom>
              <a:solidFill>
                <a:schemeClr val="tx1"/>
              </a:solidFill>
              <a:ln w="1905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44" name="Group 143">
                <a:extLst>
                  <a:ext uri="{FF2B5EF4-FFF2-40B4-BE49-F238E27FC236}">
                    <a16:creationId xmlns:a16="http://schemas.microsoft.com/office/drawing/2014/main" id="{C3B16F19-96B6-4BAD-A6FC-01A430AAB0EF}"/>
                  </a:ext>
                </a:extLst>
              </p:cNvPr>
              <p:cNvGrpSpPr/>
              <p:nvPr/>
            </p:nvGrpSpPr>
            <p:grpSpPr>
              <a:xfrm>
                <a:off x="9734550" y="658772"/>
                <a:ext cx="90794" cy="66675"/>
                <a:chOff x="10358438" y="592532"/>
                <a:chExt cx="90794" cy="66675"/>
              </a:xfrm>
            </p:grpSpPr>
            <p:cxnSp>
              <p:nvCxnSpPr>
                <p:cNvPr id="145" name="Straight Connector 144">
                  <a:extLst>
                    <a:ext uri="{FF2B5EF4-FFF2-40B4-BE49-F238E27FC236}">
                      <a16:creationId xmlns:a16="http://schemas.microsoft.com/office/drawing/2014/main" id="{290DD2F1-7126-46A8-A2BD-82D97B71FB0F}"/>
                    </a:ext>
                  </a:extLst>
                </p:cNvPr>
                <p:cNvCxnSpPr/>
                <p:nvPr/>
              </p:nvCxnSpPr>
              <p:spPr>
                <a:xfrm>
                  <a:off x="10358438" y="592532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46" name="Straight Connector 145">
                  <a:extLst>
                    <a:ext uri="{FF2B5EF4-FFF2-40B4-BE49-F238E27FC236}">
                      <a16:creationId xmlns:a16="http://schemas.microsoft.com/office/drawing/2014/main" id="{C5BCAF6A-BBA9-4572-AD12-BEC4ED979E59}"/>
                    </a:ext>
                  </a:extLst>
                </p:cNvPr>
                <p:cNvCxnSpPr/>
                <p:nvPr/>
              </p:nvCxnSpPr>
              <p:spPr>
                <a:xfrm>
                  <a:off x="10358438" y="625870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47" name="Straight Connector 146">
                  <a:extLst>
                    <a:ext uri="{FF2B5EF4-FFF2-40B4-BE49-F238E27FC236}">
                      <a16:creationId xmlns:a16="http://schemas.microsoft.com/office/drawing/2014/main" id="{F6F9A108-D5CF-49D3-8E21-7F31C646E00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358438" y="659207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</p:grp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0940BF8E-F5D2-4ED9-8A40-5CB594553C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340850" y="3081875"/>
              <a:ext cx="749302" cy="1388479"/>
            </a:xfrm>
            <a:prstGeom prst="line">
              <a:avLst/>
            </a:prstGeom>
            <a:ln w="5715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660C21D3-2BA9-4B53-ACCF-FC8698569FB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1700" y="3051181"/>
              <a:ext cx="1568450" cy="1063619"/>
            </a:xfrm>
            <a:prstGeom prst="line">
              <a:avLst/>
            </a:prstGeom>
            <a:ln w="5715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7F73B7AC-0602-4F6B-9E54-98142CCA932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981950" y="3051181"/>
              <a:ext cx="2108200" cy="545169"/>
            </a:xfrm>
            <a:prstGeom prst="line">
              <a:avLst/>
            </a:prstGeom>
            <a:ln w="5715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71" name="Oval 170">
              <a:extLst>
                <a:ext uri="{FF2B5EF4-FFF2-40B4-BE49-F238E27FC236}">
                  <a16:creationId xmlns:a16="http://schemas.microsoft.com/office/drawing/2014/main" id="{BC16063B-DC7C-42B6-BBDB-410140D242DF}"/>
                </a:ext>
              </a:extLst>
            </p:cNvPr>
            <p:cNvSpPr/>
            <p:nvPr/>
          </p:nvSpPr>
          <p:spPr>
            <a:xfrm>
              <a:off x="8021462" y="3206289"/>
              <a:ext cx="124414" cy="12441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2" name="Oval 171">
              <a:extLst>
                <a:ext uri="{FF2B5EF4-FFF2-40B4-BE49-F238E27FC236}">
                  <a16:creationId xmlns:a16="http://schemas.microsoft.com/office/drawing/2014/main" id="{8550B624-B951-46BD-88F7-6D4BD53F9DF2}"/>
                </a:ext>
              </a:extLst>
            </p:cNvPr>
            <p:cNvSpPr/>
            <p:nvPr/>
          </p:nvSpPr>
          <p:spPr>
            <a:xfrm>
              <a:off x="8872065" y="3567581"/>
              <a:ext cx="124414" cy="124414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tx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3" name="Oval 172">
              <a:extLst>
                <a:ext uri="{FF2B5EF4-FFF2-40B4-BE49-F238E27FC236}">
                  <a16:creationId xmlns:a16="http://schemas.microsoft.com/office/drawing/2014/main" id="{E0783B7C-47BD-4AB1-913D-558B0BC2CDBC}"/>
                </a:ext>
              </a:extLst>
            </p:cNvPr>
            <p:cNvSpPr/>
            <p:nvPr/>
          </p:nvSpPr>
          <p:spPr>
            <a:xfrm>
              <a:off x="9002785" y="4137805"/>
              <a:ext cx="124414" cy="12441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4" name="Oval 173">
              <a:extLst>
                <a:ext uri="{FF2B5EF4-FFF2-40B4-BE49-F238E27FC236}">
                  <a16:creationId xmlns:a16="http://schemas.microsoft.com/office/drawing/2014/main" id="{D7BF9506-07EE-4E36-887D-49C969277AAF}"/>
                </a:ext>
              </a:extLst>
            </p:cNvPr>
            <p:cNvSpPr/>
            <p:nvPr/>
          </p:nvSpPr>
          <p:spPr>
            <a:xfrm>
              <a:off x="9841029" y="3631512"/>
              <a:ext cx="124414" cy="12441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5" name="Oval 174">
              <a:extLst>
                <a:ext uri="{FF2B5EF4-FFF2-40B4-BE49-F238E27FC236}">
                  <a16:creationId xmlns:a16="http://schemas.microsoft.com/office/drawing/2014/main" id="{3E1AB52C-0A98-41A7-98CF-1769990D1B24}"/>
                </a:ext>
              </a:extLst>
            </p:cNvPr>
            <p:cNvSpPr/>
            <p:nvPr/>
          </p:nvSpPr>
          <p:spPr>
            <a:xfrm>
              <a:off x="8356258" y="3728111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6" name="Oval 175">
              <a:extLst>
                <a:ext uri="{FF2B5EF4-FFF2-40B4-BE49-F238E27FC236}">
                  <a16:creationId xmlns:a16="http://schemas.microsoft.com/office/drawing/2014/main" id="{4E089C8B-CEB1-48A0-BEDA-61BC1A729781}"/>
                </a:ext>
              </a:extLst>
            </p:cNvPr>
            <p:cNvSpPr/>
            <p:nvPr/>
          </p:nvSpPr>
          <p:spPr>
            <a:xfrm>
              <a:off x="8180604" y="3304154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7" name="Oval 176">
              <a:extLst>
                <a:ext uri="{FF2B5EF4-FFF2-40B4-BE49-F238E27FC236}">
                  <a16:creationId xmlns:a16="http://schemas.microsoft.com/office/drawing/2014/main" id="{49E8A8C3-87E6-411A-828C-AB9642669DF3}"/>
                </a:ext>
              </a:extLst>
            </p:cNvPr>
            <p:cNvSpPr/>
            <p:nvPr/>
          </p:nvSpPr>
          <p:spPr>
            <a:xfrm>
              <a:off x="9552762" y="4332097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8" name="Oval 177">
              <a:extLst>
                <a:ext uri="{FF2B5EF4-FFF2-40B4-BE49-F238E27FC236}">
                  <a16:creationId xmlns:a16="http://schemas.microsoft.com/office/drawing/2014/main" id="{EF424A28-0CAF-49F9-AAEF-0AF333DD0629}"/>
                </a:ext>
              </a:extLst>
            </p:cNvPr>
            <p:cNvSpPr/>
            <p:nvPr/>
          </p:nvSpPr>
          <p:spPr>
            <a:xfrm>
              <a:off x="9386632" y="3864184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9" name="Oval 178">
              <a:extLst>
                <a:ext uri="{FF2B5EF4-FFF2-40B4-BE49-F238E27FC236}">
                  <a16:creationId xmlns:a16="http://schemas.microsoft.com/office/drawing/2014/main" id="{B2A0ADE0-43D1-4EA1-8366-1FA478374000}"/>
                </a:ext>
              </a:extLst>
            </p:cNvPr>
            <p:cNvSpPr/>
            <p:nvPr/>
          </p:nvSpPr>
          <p:spPr>
            <a:xfrm>
              <a:off x="9042492" y="3081875"/>
              <a:ext cx="124414" cy="1244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4" name="Arrow: Right 263">
            <a:extLst>
              <a:ext uri="{FF2B5EF4-FFF2-40B4-BE49-F238E27FC236}">
                <a16:creationId xmlns:a16="http://schemas.microsoft.com/office/drawing/2014/main" id="{334914C5-41C0-4FA0-A97E-26192E39F1FD}"/>
              </a:ext>
            </a:extLst>
          </p:cNvPr>
          <p:cNvSpPr/>
          <p:nvPr/>
        </p:nvSpPr>
        <p:spPr>
          <a:xfrm>
            <a:off x="440243" y="7085150"/>
            <a:ext cx="13749915" cy="465737"/>
          </a:xfrm>
          <a:prstGeom prst="rightArrow">
            <a:avLst>
              <a:gd name="adj1" fmla="val 100000"/>
              <a:gd name="adj2" fmla="val 0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XC Digital Explorer Trends</a:t>
            </a:r>
          </a:p>
        </p:txBody>
      </p:sp>
      <p:sp>
        <p:nvSpPr>
          <p:cNvPr id="140" name="Star: 32 Points 139">
            <a:extLst>
              <a:ext uri="{FF2B5EF4-FFF2-40B4-BE49-F238E27FC236}">
                <a16:creationId xmlns:a16="http://schemas.microsoft.com/office/drawing/2014/main" id="{F073A119-9E60-4E63-AEF1-5EE06F6B064A}"/>
              </a:ext>
            </a:extLst>
          </p:cNvPr>
          <p:cNvSpPr/>
          <p:nvPr/>
        </p:nvSpPr>
        <p:spPr>
          <a:xfrm>
            <a:off x="152006" y="665006"/>
            <a:ext cx="1292637" cy="1292637"/>
          </a:xfrm>
          <a:prstGeom prst="star32">
            <a:avLst>
              <a:gd name="adj" fmla="val 46086"/>
            </a:avLst>
          </a:prstGeom>
          <a:solidFill>
            <a:schemeClr val="accent3"/>
          </a:solidFill>
          <a:ln w="762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l available today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F31911A-83B4-47D8-BD32-750CDD1DEEA2}"/>
              </a:ext>
            </a:extLst>
          </p:cNvPr>
          <p:cNvGrpSpPr/>
          <p:nvPr/>
        </p:nvGrpSpPr>
        <p:grpSpPr>
          <a:xfrm>
            <a:off x="11197126" y="2621110"/>
            <a:ext cx="2594928" cy="2048480"/>
            <a:chOff x="11191115" y="2601598"/>
            <a:chExt cx="2594928" cy="2048480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129AF97-C5F7-4741-94E4-F5BEC3265520}"/>
                </a:ext>
              </a:extLst>
            </p:cNvPr>
            <p:cNvGrpSpPr/>
            <p:nvPr/>
          </p:nvGrpSpPr>
          <p:grpSpPr>
            <a:xfrm>
              <a:off x="11328047" y="2973199"/>
              <a:ext cx="2340367" cy="1565932"/>
              <a:chOff x="10885764" y="2571783"/>
              <a:chExt cx="2995585" cy="2004336"/>
            </a:xfrm>
          </p:grpSpPr>
          <p:sp>
            <p:nvSpPr>
              <p:cNvPr id="184" name="Isosceles Triangle 183">
                <a:extLst>
                  <a:ext uri="{FF2B5EF4-FFF2-40B4-BE49-F238E27FC236}">
                    <a16:creationId xmlns:a16="http://schemas.microsoft.com/office/drawing/2014/main" id="{FADA2441-FEE5-4D7A-82CF-2FB069D33D73}"/>
                  </a:ext>
                </a:extLst>
              </p:cNvPr>
              <p:cNvSpPr/>
              <p:nvPr/>
            </p:nvSpPr>
            <p:spPr>
              <a:xfrm>
                <a:off x="10920611" y="2608649"/>
                <a:ext cx="2960738" cy="1725097"/>
              </a:xfrm>
              <a:prstGeom prst="triangle">
                <a:avLst>
                  <a:gd name="adj" fmla="val 10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5" name="TextBox 184">
                <a:extLst>
                  <a:ext uri="{FF2B5EF4-FFF2-40B4-BE49-F238E27FC236}">
                    <a16:creationId xmlns:a16="http://schemas.microsoft.com/office/drawing/2014/main" id="{58AF0FA5-122F-4BB0-8A94-397F4EDAB231}"/>
                  </a:ext>
                </a:extLst>
              </p:cNvPr>
              <p:cNvSpPr txBox="1"/>
              <p:nvPr/>
            </p:nvSpPr>
            <p:spPr>
              <a:xfrm>
                <a:off x="10885764" y="4345287"/>
                <a:ext cx="402674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dea</a:t>
                </a:r>
              </a:p>
            </p:txBody>
          </p:sp>
          <p:sp>
            <p:nvSpPr>
              <p:cNvPr id="186" name="TextBox 185">
                <a:extLst>
                  <a:ext uri="{FF2B5EF4-FFF2-40B4-BE49-F238E27FC236}">
                    <a16:creationId xmlns:a16="http://schemas.microsoft.com/office/drawing/2014/main" id="{945C1350-992D-4B9D-87F3-6A6C71A679D0}"/>
                  </a:ext>
                </a:extLst>
              </p:cNvPr>
              <p:cNvSpPr txBox="1"/>
              <p:nvPr/>
            </p:nvSpPr>
            <p:spPr>
              <a:xfrm>
                <a:off x="11428564" y="4345287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ncept</a:t>
                </a:r>
              </a:p>
            </p:txBody>
          </p:sp>
          <p:sp>
            <p:nvSpPr>
              <p:cNvPr id="187" name="TextBox 186">
                <a:extLst>
                  <a:ext uri="{FF2B5EF4-FFF2-40B4-BE49-F238E27FC236}">
                    <a16:creationId xmlns:a16="http://schemas.microsoft.com/office/drawing/2014/main" id="{C62F9CE7-8AAC-48DA-8EC1-072792D07D7B}"/>
                  </a:ext>
                </a:extLst>
              </p:cNvPr>
              <p:cNvSpPr txBox="1"/>
              <p:nvPr/>
            </p:nvSpPr>
            <p:spPr>
              <a:xfrm>
                <a:off x="12281270" y="4345287"/>
                <a:ext cx="678391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totype</a:t>
                </a:r>
              </a:p>
            </p:txBody>
          </p:sp>
          <p:sp>
            <p:nvSpPr>
              <p:cNvPr id="188" name="TextBox 187">
                <a:extLst>
                  <a:ext uri="{FF2B5EF4-FFF2-40B4-BE49-F238E27FC236}">
                    <a16:creationId xmlns:a16="http://schemas.microsoft.com/office/drawing/2014/main" id="{209AAB19-82A1-4568-8756-4CCC6678018D}"/>
                  </a:ext>
                </a:extLst>
              </p:cNvPr>
              <p:cNvSpPr txBox="1"/>
              <p:nvPr/>
            </p:nvSpPr>
            <p:spPr>
              <a:xfrm>
                <a:off x="13048583" y="4345287"/>
                <a:ext cx="736099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duction</a:t>
                </a:r>
              </a:p>
            </p:txBody>
          </p:sp>
          <p:sp>
            <p:nvSpPr>
              <p:cNvPr id="189" name="Oval 188">
                <a:extLst>
                  <a:ext uri="{FF2B5EF4-FFF2-40B4-BE49-F238E27FC236}">
                    <a16:creationId xmlns:a16="http://schemas.microsoft.com/office/drawing/2014/main" id="{0D769C41-0E89-4F8F-A672-807C3EBFDC21}"/>
                  </a:ext>
                </a:extLst>
              </p:cNvPr>
              <p:cNvSpPr/>
              <p:nvPr/>
            </p:nvSpPr>
            <p:spPr>
              <a:xfrm>
                <a:off x="11517858" y="3797231"/>
                <a:ext cx="221634" cy="221634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F6695714-7248-426F-8420-60E3A951A0C7}"/>
                  </a:ext>
                </a:extLst>
              </p:cNvPr>
              <p:cNvSpPr/>
              <p:nvPr/>
            </p:nvSpPr>
            <p:spPr>
              <a:xfrm>
                <a:off x="11412902" y="3568062"/>
                <a:ext cx="221634" cy="221634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1" name="Oval 190">
                <a:extLst>
                  <a:ext uri="{FF2B5EF4-FFF2-40B4-BE49-F238E27FC236}">
                    <a16:creationId xmlns:a16="http://schemas.microsoft.com/office/drawing/2014/main" id="{CB017B5A-478A-40EA-BC34-41C1BEEE5185}"/>
                  </a:ext>
                </a:extLst>
              </p:cNvPr>
              <p:cNvSpPr/>
              <p:nvPr/>
            </p:nvSpPr>
            <p:spPr>
              <a:xfrm>
                <a:off x="12418087" y="3181899"/>
                <a:ext cx="319577" cy="319577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C3DBADB6-CD2C-4143-8920-3C5D9E4F87C1}"/>
                  </a:ext>
                </a:extLst>
              </p:cNvPr>
              <p:cNvSpPr/>
              <p:nvPr/>
            </p:nvSpPr>
            <p:spPr>
              <a:xfrm>
                <a:off x="13184688" y="2571783"/>
                <a:ext cx="463887" cy="463887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3" name="Oval 192">
                <a:extLst>
                  <a:ext uri="{FF2B5EF4-FFF2-40B4-BE49-F238E27FC236}">
                    <a16:creationId xmlns:a16="http://schemas.microsoft.com/office/drawing/2014/main" id="{622D600D-364A-48AA-8461-985677860C5D}"/>
                  </a:ext>
                </a:extLst>
              </p:cNvPr>
              <p:cNvSpPr/>
              <p:nvPr/>
            </p:nvSpPr>
            <p:spPr>
              <a:xfrm>
                <a:off x="11612899" y="3596350"/>
                <a:ext cx="221634" cy="221634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4" name="Oval 193">
                <a:extLst>
                  <a:ext uri="{FF2B5EF4-FFF2-40B4-BE49-F238E27FC236}">
                    <a16:creationId xmlns:a16="http://schemas.microsoft.com/office/drawing/2014/main" id="{C1DABF02-CD20-42E1-B3DC-C643B7F16688}"/>
                  </a:ext>
                </a:extLst>
              </p:cNvPr>
              <p:cNvSpPr/>
              <p:nvPr/>
            </p:nvSpPr>
            <p:spPr>
              <a:xfrm>
                <a:off x="12249140" y="3353202"/>
                <a:ext cx="261148" cy="261148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0" name="Oval 179">
                <a:extLst>
                  <a:ext uri="{FF2B5EF4-FFF2-40B4-BE49-F238E27FC236}">
                    <a16:creationId xmlns:a16="http://schemas.microsoft.com/office/drawing/2014/main" id="{BEDD7B7E-58E7-431A-8BD9-7C996DFFA583}"/>
                  </a:ext>
                </a:extLst>
              </p:cNvPr>
              <p:cNvSpPr/>
              <p:nvPr/>
            </p:nvSpPr>
            <p:spPr>
              <a:xfrm>
                <a:off x="10887342" y="4191096"/>
                <a:ext cx="141001" cy="141001"/>
              </a:xfrm>
              <a:prstGeom prst="ellipse">
                <a:avLst/>
              </a:prstGeom>
              <a:solidFill>
                <a:schemeClr val="accent4"/>
              </a:solidFill>
              <a:ln w="38100">
                <a:solidFill>
                  <a:schemeClr val="tx2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82" name="Group 181">
              <a:extLst>
                <a:ext uri="{FF2B5EF4-FFF2-40B4-BE49-F238E27FC236}">
                  <a16:creationId xmlns:a16="http://schemas.microsoft.com/office/drawing/2014/main" id="{D201924C-7A4B-4F21-8C00-B3A67F4AE38A}"/>
                </a:ext>
              </a:extLst>
            </p:cNvPr>
            <p:cNvGrpSpPr/>
            <p:nvPr/>
          </p:nvGrpSpPr>
          <p:grpSpPr>
            <a:xfrm>
              <a:off x="11191115" y="2601598"/>
              <a:ext cx="2594928" cy="2048480"/>
              <a:chOff x="8406580" y="618359"/>
              <a:chExt cx="1484672" cy="1172025"/>
            </a:xfrm>
          </p:grpSpPr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7AA14C91-9E4C-4288-BD92-080B012824CF}"/>
                  </a:ext>
                </a:extLst>
              </p:cNvPr>
              <p:cNvSpPr/>
              <p:nvPr/>
            </p:nvSpPr>
            <p:spPr>
              <a:xfrm>
                <a:off x="8406581" y="618359"/>
                <a:ext cx="1484671" cy="1172025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CA511003-AAB9-4B11-91C1-A476991EC7C7}"/>
                  </a:ext>
                </a:extLst>
              </p:cNvPr>
              <p:cNvSpPr/>
              <p:nvPr/>
            </p:nvSpPr>
            <p:spPr>
              <a:xfrm>
                <a:off x="8406580" y="618359"/>
                <a:ext cx="1484671" cy="137946"/>
              </a:xfrm>
              <a:prstGeom prst="rect">
                <a:avLst/>
              </a:prstGeom>
              <a:solidFill>
                <a:schemeClr val="tx1"/>
              </a:solidFill>
              <a:ln w="1905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10" name="Group 209">
                <a:extLst>
                  <a:ext uri="{FF2B5EF4-FFF2-40B4-BE49-F238E27FC236}">
                    <a16:creationId xmlns:a16="http://schemas.microsoft.com/office/drawing/2014/main" id="{E4E430EE-6748-48AF-B04F-6D6D7971D0FD}"/>
                  </a:ext>
                </a:extLst>
              </p:cNvPr>
              <p:cNvGrpSpPr/>
              <p:nvPr/>
            </p:nvGrpSpPr>
            <p:grpSpPr>
              <a:xfrm>
                <a:off x="9734550" y="658772"/>
                <a:ext cx="90794" cy="66675"/>
                <a:chOff x="10358438" y="592532"/>
                <a:chExt cx="90794" cy="66675"/>
              </a:xfrm>
            </p:grpSpPr>
            <p:cxnSp>
              <p:nvCxnSpPr>
                <p:cNvPr id="211" name="Straight Connector 210">
                  <a:extLst>
                    <a:ext uri="{FF2B5EF4-FFF2-40B4-BE49-F238E27FC236}">
                      <a16:creationId xmlns:a16="http://schemas.microsoft.com/office/drawing/2014/main" id="{5D1194AA-5C54-4F99-B515-1D8603D7AC66}"/>
                    </a:ext>
                  </a:extLst>
                </p:cNvPr>
                <p:cNvCxnSpPr/>
                <p:nvPr/>
              </p:nvCxnSpPr>
              <p:spPr>
                <a:xfrm>
                  <a:off x="10358438" y="592532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41" name="Straight Connector 240">
                  <a:extLst>
                    <a:ext uri="{FF2B5EF4-FFF2-40B4-BE49-F238E27FC236}">
                      <a16:creationId xmlns:a16="http://schemas.microsoft.com/office/drawing/2014/main" id="{F7E9C9A5-8E45-421A-9C26-BCE47F901749}"/>
                    </a:ext>
                  </a:extLst>
                </p:cNvPr>
                <p:cNvCxnSpPr/>
                <p:nvPr/>
              </p:nvCxnSpPr>
              <p:spPr>
                <a:xfrm>
                  <a:off x="10358438" y="625870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42" name="Straight Connector 241">
                  <a:extLst>
                    <a:ext uri="{FF2B5EF4-FFF2-40B4-BE49-F238E27FC236}">
                      <a16:creationId xmlns:a16="http://schemas.microsoft.com/office/drawing/2014/main" id="{0CE3476C-D23E-42A4-80B3-AD41F0C582D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358438" y="659207"/>
                  <a:ext cx="90794" cy="0"/>
                </a:xfrm>
                <a:prstGeom prst="line">
                  <a:avLst/>
                </a:prstGeom>
                <a:ln w="6350" cap="sq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</p:grp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E2457F9B-52A9-44E2-8114-911B7D2D5667}"/>
              </a:ext>
            </a:extLst>
          </p:cNvPr>
          <p:cNvGrpSpPr/>
          <p:nvPr/>
        </p:nvGrpSpPr>
        <p:grpSpPr>
          <a:xfrm>
            <a:off x="13073510" y="409502"/>
            <a:ext cx="871090" cy="797592"/>
            <a:chOff x="1921047" y="2009393"/>
            <a:chExt cx="3929255" cy="3597728"/>
          </a:xfrm>
        </p:grpSpPr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0FBCF8CE-153A-4074-94BA-41BB0F08CCE0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95" name="Straight Connector 194">
              <a:extLst>
                <a:ext uri="{FF2B5EF4-FFF2-40B4-BE49-F238E27FC236}">
                  <a16:creationId xmlns:a16="http://schemas.microsoft.com/office/drawing/2014/main" id="{F3D248AF-81D1-418C-B122-B47F0746C2DD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96" name="Straight Connector 195">
              <a:extLst>
                <a:ext uri="{FF2B5EF4-FFF2-40B4-BE49-F238E27FC236}">
                  <a16:creationId xmlns:a16="http://schemas.microsoft.com/office/drawing/2014/main" id="{F1F27528-7C3C-4485-AB66-E185A5EFE0F4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A6DD9983-9235-412C-B04B-2DFD140B817E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98" name="Oval 197">
              <a:extLst>
                <a:ext uri="{FF2B5EF4-FFF2-40B4-BE49-F238E27FC236}">
                  <a16:creationId xmlns:a16="http://schemas.microsoft.com/office/drawing/2014/main" id="{AAFF3BF8-7907-4174-8D03-5678C0927B2D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9" name="Oval 198">
              <a:extLst>
                <a:ext uri="{FF2B5EF4-FFF2-40B4-BE49-F238E27FC236}">
                  <a16:creationId xmlns:a16="http://schemas.microsoft.com/office/drawing/2014/main" id="{3FDC761D-5B75-4AAB-8B85-D1AEBBAFCBAF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0" name="Oval 199">
              <a:extLst>
                <a:ext uri="{FF2B5EF4-FFF2-40B4-BE49-F238E27FC236}">
                  <a16:creationId xmlns:a16="http://schemas.microsoft.com/office/drawing/2014/main" id="{61A9A2BB-EBF1-463C-9B55-1CE04AEE34A8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212D33A4-4D07-4040-B8D1-9823C3F5096F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10B06A2C-8C75-43F5-9797-859DDE104863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EBF7E012-CD9E-4F2C-B026-72EF163336CF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rgbClr val="FFED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1498D23D-82BC-4BB7-A6D9-39AF09A33F7E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05" name="Straight Connector 204">
              <a:extLst>
                <a:ext uri="{FF2B5EF4-FFF2-40B4-BE49-F238E27FC236}">
                  <a16:creationId xmlns:a16="http://schemas.microsoft.com/office/drawing/2014/main" id="{971F778E-3CF6-4582-B960-DD88659F264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06" name="Straight Connector 205">
              <a:extLst>
                <a:ext uri="{FF2B5EF4-FFF2-40B4-BE49-F238E27FC236}">
                  <a16:creationId xmlns:a16="http://schemas.microsoft.com/office/drawing/2014/main" id="{21E4D6E7-8D74-4296-B4E9-029BAF4E8E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7C52A45A-6DCC-4D1A-B878-AE6F7635821F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30574FD7-CE47-4907-A603-B9E8AB60CE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7F840802-F695-4385-A8A5-FEFEF5C3D6D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rgbClr val="FFED00"/>
            </a:solidFill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6F6E5C85-BDBB-48C7-8C74-76910AE3623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4D016F14-7B95-40C2-8642-5D4BABF59EB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rgbClr val="FFED00"/>
              </a:solidFill>
              <a:prstDash val="solid"/>
            </a:ln>
            <a:effectLst/>
          </p:spPr>
        </p:cxn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2EAA9CE9-6A1C-46C5-8D66-FA1F32F0E7B2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31EEE3C7-B727-4404-BCDB-95C3C647549F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D2C789F5-157F-4C95-9E6C-518A611D2ACE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44622234-61C3-4537-A100-C6BB27964FEE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185291E8-DAE0-4929-8DAE-D7E2BAEA5A98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ACE459D8-9EB4-47AA-8812-7A46729592BF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E0B0AF30-2C34-444B-AB8E-38AF46482321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254" name="Oval 253">
              <a:extLst>
                <a:ext uri="{FF2B5EF4-FFF2-40B4-BE49-F238E27FC236}">
                  <a16:creationId xmlns:a16="http://schemas.microsoft.com/office/drawing/2014/main" id="{0AA21803-A4BB-45FC-9A02-168A474A91C1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A5CD3472-E7BF-4981-A939-4E316E15EE1B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3E64F8F5-D7A4-40E8-AC55-74D1CEF8C919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6324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E15923-C746-4E82-B559-C0FAB3571B2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Demo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33DA1E9-4048-4679-96EA-1B4AE794552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Workspac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Solutions</a:t>
            </a:r>
          </a:p>
        </p:txBody>
      </p:sp>
    </p:spTree>
    <p:extLst>
      <p:ext uri="{BB962C8B-B14F-4D97-AF65-F5344CB8AC3E}">
        <p14:creationId xmlns:p14="http://schemas.microsoft.com/office/powerpoint/2010/main" val="3280845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XC">
  <a:themeElements>
    <a:clrScheme name="DXC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666666"/>
      </a:accent2>
      <a:accent3>
        <a:srgbClr val="FFED00"/>
      </a:accent3>
      <a:accent4>
        <a:srgbClr val="64FF00"/>
      </a:accent4>
      <a:accent5>
        <a:srgbClr val="00C9FF"/>
      </a:accent5>
      <a:accent6>
        <a:srgbClr val="D9D9D9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33CB0297-229A-4D6A-A37A-FF8AB92BF272}" vid="{8C2B9180-97CD-4883-B2FE-0BF89CE0C186}"/>
    </a:ext>
  </a:extLst>
</a:theme>
</file>

<file path=ppt/theme/theme2.xml><?xml version="1.0" encoding="utf-8"?>
<a:theme xmlns:a="http://schemas.openxmlformats.org/drawingml/2006/main" name="6_HPE_Standard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HPE">
      <a:majorFont>
        <a:latin typeface="Metric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etric Regular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3.xml><?xml version="1.0" encoding="utf-8"?>
<a:theme xmlns:a="http://schemas.openxmlformats.org/drawingml/2006/main" name="1_DXC">
  <a:themeElements>
    <a:clrScheme name="Custom 18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666666"/>
      </a:accent2>
      <a:accent3>
        <a:srgbClr val="D9D9D9"/>
      </a:accent3>
      <a:accent4>
        <a:srgbClr val="FFED00"/>
      </a:accent4>
      <a:accent5>
        <a:srgbClr val="64FF00"/>
      </a:accent5>
      <a:accent6>
        <a:srgbClr val="00C9FF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optimized Speaker Template - TechCom24 2019 - Copy.pptx" id="{3EE38018-928B-41CF-8B11-0FA06723AFDD}" vid="{24D7BD64-ADC4-486E-8977-DB4EB23E36E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XC.16.9</Template>
  <TotalTime>6647</TotalTime>
  <Words>1452</Words>
  <Application>Microsoft Office PowerPoint</Application>
  <PresentationFormat>Custom</PresentationFormat>
  <Paragraphs>305</Paragraphs>
  <Slides>24</Slides>
  <Notes>6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1" baseType="lpstr">
      <vt:lpstr>Arial</vt:lpstr>
      <vt:lpstr>Metric Bold</vt:lpstr>
      <vt:lpstr>Metric Regular</vt:lpstr>
      <vt:lpstr>DXC</vt:lpstr>
      <vt:lpstr>6_HPE_Standard_Metric_16x9_v2</vt:lpstr>
      <vt:lpstr>1_DXC</vt:lpstr>
      <vt:lpstr>think-cell Slide</vt:lpstr>
      <vt:lpstr>DXC Digital Explorer</vt:lpstr>
      <vt:lpstr>About me</vt:lpstr>
      <vt:lpstr>PowerPoint Presentation</vt:lpstr>
      <vt:lpstr>PowerPoint Presentation</vt:lpstr>
      <vt:lpstr>PowerPoint Presentation</vt:lpstr>
      <vt:lpstr>PowerPoint Presentation</vt:lpstr>
      <vt:lpstr>DXC Digital Explorer</vt:lpstr>
      <vt:lpstr>Client Goals to Outcomes with DXC Digital Explorer</vt:lpstr>
      <vt:lpstr>Demos</vt:lpstr>
      <vt:lpstr>What’s in it for us?</vt:lpstr>
      <vt:lpstr>Go Explore!</vt:lpstr>
      <vt:lpstr>Back-up slides </vt:lpstr>
      <vt:lpstr>DXC Digital Explorer</vt:lpstr>
      <vt:lpstr>Build on collaboration </vt:lpstr>
      <vt:lpstr>Digital Explorer is the Enterprise Knowledge Graph for DXC</vt:lpstr>
      <vt:lpstr>Understand :  Industry and Technology trends</vt:lpstr>
      <vt:lpstr>Trends : Key features</vt:lpstr>
      <vt:lpstr>Shape :  Roadmaps</vt:lpstr>
      <vt:lpstr>Roadmaps : Key features</vt:lpstr>
      <vt:lpstr>Shape :  Workspaces</vt:lpstr>
      <vt:lpstr>Digital Explorer | Solutions</vt:lpstr>
      <vt:lpstr>Solution : Key features</vt:lpstr>
      <vt:lpstr>Explore : Graph Explorer</vt:lpstr>
      <vt:lpstr>More Information</vt:lpstr>
    </vt:vector>
  </TitlesOfParts>
  <Manager/>
  <Company>DXC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XC Knowledge Graph</dc:title>
  <dc:subject/>
  <dc:creator>Stevens, David (EMEA CT Office)</dc:creator>
  <cp:keywords/>
  <dc:description/>
  <cp:lastModifiedBy>David Stevens</cp:lastModifiedBy>
  <cp:revision>236</cp:revision>
  <dcterms:created xsi:type="dcterms:W3CDTF">2017-03-29T08:04:02Z</dcterms:created>
  <dcterms:modified xsi:type="dcterms:W3CDTF">2019-03-13T12:56:35Z</dcterms:modified>
  <cp:category/>
</cp:coreProperties>
</file>